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Default Extension="jpg" ContentType="image/jpeg"/>
  <Default Extension="mp4" ContentType="video/mp4"/>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39.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ink/ink1.xml" ContentType="application/inkml+xml"/>
  <Override PartName="/ppt/notesSlides/notesSlide11.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828" r:id="rId6"/>
  </p:sldMasterIdLst>
  <p:notesMasterIdLst>
    <p:notesMasterId r:id="rId26"/>
  </p:notesMasterIdLst>
  <p:handoutMasterIdLst>
    <p:handoutMasterId r:id="rId27"/>
  </p:handoutMasterIdLst>
  <p:sldIdLst>
    <p:sldId id="345" r:id="rId7"/>
    <p:sldId id="346" r:id="rId8"/>
    <p:sldId id="347" r:id="rId9"/>
    <p:sldId id="348" r:id="rId10"/>
    <p:sldId id="349" r:id="rId11"/>
    <p:sldId id="350" r:id="rId12"/>
    <p:sldId id="351" r:id="rId13"/>
    <p:sldId id="352" r:id="rId14"/>
    <p:sldId id="353" r:id="rId15"/>
    <p:sldId id="354" r:id="rId16"/>
    <p:sldId id="355" r:id="rId17"/>
    <p:sldId id="356" r:id="rId18"/>
    <p:sldId id="357" r:id="rId19"/>
    <p:sldId id="358" r:id="rId20"/>
    <p:sldId id="359" r:id="rId21"/>
    <p:sldId id="360" r:id="rId22"/>
    <p:sldId id="361" r:id="rId23"/>
    <p:sldId id="362" r:id="rId24"/>
    <p:sldId id="363" r:id="rId25"/>
  </p:sldIdLst>
  <p:sldSz cx="9144000" cy="5143500" type="screen16x9"/>
  <p:notesSz cx="7099300" cy="10234613"/>
  <p:custDataLst>
    <p:tags r:id="rId28"/>
  </p:custDataLst>
  <p:defaultTex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Default Section" id="{12326F46-6EC0-44C2-A3E4-2681B8CAA80B}">
          <p14:sldIdLst>
            <p14:sldId id="345"/>
            <p14:sldId id="346"/>
            <p14:sldId id="347"/>
            <p14:sldId id="348"/>
            <p14:sldId id="349"/>
            <p14:sldId id="350"/>
            <p14:sldId id="351"/>
            <p14:sldId id="352"/>
            <p14:sldId id="353"/>
            <p14:sldId id="354"/>
            <p14:sldId id="355"/>
            <p14:sldId id="356"/>
            <p14:sldId id="357"/>
            <p14:sldId id="358"/>
            <p14:sldId id="359"/>
            <p14:sldId id="360"/>
            <p14:sldId id="361"/>
            <p14:sldId id="362"/>
            <p14:sldId id="363"/>
          </p14:sldIdLst>
        </p14:section>
      </p14:sectionLst>
    </p:ext>
    <p:ext uri="{EFAFB233-063F-42B5-8137-9DF3F51BA10A}">
      <p15:sldGuideLst xmlns:p15="http://schemas.microsoft.com/office/powerpoint/2012/main">
        <p15:guide id="1" orient="horz" pos="799">
          <p15:clr>
            <a:srgbClr val="A4A3A4"/>
          </p15:clr>
        </p15:guide>
        <p15:guide id="2" orient="horz" pos="4020">
          <p15:clr>
            <a:srgbClr val="A4A3A4"/>
          </p15:clr>
        </p15:guide>
        <p15:guide id="3" pos="158">
          <p15:clr>
            <a:srgbClr val="A4A3A4"/>
          </p15:clr>
        </p15:guide>
        <p15:guide id="4" pos="5602">
          <p15:clr>
            <a:srgbClr val="A4A3A4"/>
          </p15:clr>
        </p15:guide>
        <p15:guide id="5" orient="horz" pos="577">
          <p15:clr>
            <a:srgbClr val="A4A3A4"/>
          </p15:clr>
        </p15:guide>
        <p15:guide id="6" orient="horz" pos="3026" userDrawn="1">
          <p15:clr>
            <a:srgbClr val="A4A3A4"/>
          </p15:clr>
        </p15:guide>
        <p15:guide id="7" orient="horz" pos="804">
          <p15:clr>
            <a:srgbClr val="A4A3A4"/>
          </p15:clr>
        </p15:guide>
      </p15:sldGuideLst>
    </p:ext>
    <p:ext uri="{2D200454-40CA-4A62-9FC3-DE9A4176ACB9}">
      <p15:notesGuideLst xmlns:p15="http://schemas.microsoft.com/office/powerpoint/2012/main">
        <p15:guide id="1" orient="horz" pos="187">
          <p15:clr>
            <a:srgbClr val="A4A3A4"/>
          </p15:clr>
        </p15:guide>
        <p15:guide id="2" orient="horz" pos="638">
          <p15:clr>
            <a:srgbClr val="A4A3A4"/>
          </p15:clr>
        </p15:guide>
        <p15:guide id="3" orient="horz" pos="453">
          <p15:clr>
            <a:srgbClr val="A4A3A4"/>
          </p15:clr>
        </p15:guide>
        <p15:guide id="4" orient="horz" pos="6262">
          <p15:clr>
            <a:srgbClr val="A4A3A4"/>
          </p15:clr>
        </p15:guide>
        <p15:guide id="5" pos="4186">
          <p15:clr>
            <a:srgbClr val="A4A3A4"/>
          </p15:clr>
        </p15:guide>
        <p15:guide id="6" pos="286">
          <p15:clr>
            <a:srgbClr val="A4A3A4"/>
          </p15:clr>
        </p15:guide>
        <p15:guide id="7" pos="830">
          <p15:clr>
            <a:srgbClr val="A4A3A4"/>
          </p15:clr>
        </p15:guide>
        <p15:guide id="8" pos="386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C8D8E6"/>
    <a:srgbClr val="FFFFFF"/>
    <a:srgbClr val="AB377A"/>
    <a:srgbClr val="E9E6E6"/>
    <a:srgbClr val="FF0066"/>
    <a:srgbClr val="DEE6ED"/>
    <a:srgbClr val="23476E"/>
    <a:srgbClr val="23214A"/>
    <a:srgbClr val="96969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510" autoAdjust="0"/>
    <p:restoredTop sz="93995" autoAdjust="0"/>
  </p:normalViewPr>
  <p:slideViewPr>
    <p:cSldViewPr snapToObjects="1" showGuides="1">
      <p:cViewPr>
        <p:scale>
          <a:sx n="100" d="100"/>
          <a:sy n="100" d="100"/>
        </p:scale>
        <p:origin x="226" y="221"/>
      </p:cViewPr>
      <p:guideLst>
        <p:guide orient="horz" pos="799"/>
        <p:guide orient="horz" pos="4020"/>
        <p:guide pos="158"/>
        <p:guide pos="5602"/>
        <p:guide orient="horz" pos="577"/>
        <p:guide orient="horz" pos="3026"/>
        <p:guide orient="horz" pos="804"/>
      </p:guideLst>
    </p:cSldViewPr>
  </p:slideViewPr>
  <p:notesTextViewPr>
    <p:cViewPr>
      <p:scale>
        <a:sx n="100" d="100"/>
        <a:sy n="100" d="100"/>
      </p:scale>
      <p:origin x="0" y="0"/>
    </p:cViewPr>
  </p:notesTextViewPr>
  <p:sorterViewPr>
    <p:cViewPr>
      <p:scale>
        <a:sx n="66" d="100"/>
        <a:sy n="66" d="100"/>
      </p:scale>
      <p:origin x="0" y="0"/>
    </p:cViewPr>
  </p:sorterViewPr>
  <p:notesViewPr>
    <p:cSldViewPr snapToObjects="1" showGuides="1">
      <p:cViewPr varScale="1">
        <p:scale>
          <a:sx n="84" d="100"/>
          <a:sy n="84" d="100"/>
        </p:scale>
        <p:origin x="-4138" y="-72"/>
      </p:cViewPr>
      <p:guideLst>
        <p:guide orient="horz" pos="187"/>
        <p:guide orient="horz" pos="638"/>
        <p:guide orient="horz" pos="453"/>
        <p:guide orient="horz" pos="6262"/>
        <p:guide pos="4186"/>
        <p:guide pos="286"/>
        <p:guide pos="830"/>
        <p:guide pos="3869"/>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tags" Target="tags/tag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handoutMaster" Target="handoutMasters/handoutMaster1.xml"/><Relationship Id="rId30" Type="http://schemas.openxmlformats.org/officeDocument/2006/relationships/presProps" Target="presProps.xml"/><Relationship Id="rId8"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3_4">
  <dgm:title val=""/>
  <dgm:desc val=""/>
  <dgm:catLst>
    <dgm:cat type="accent3" pri="11400"/>
  </dgm:catLst>
  <dgm:styleLbl name="node0">
    <dgm:fillClrLst meth="cycle">
      <a:schemeClr val="accent3">
        <a:shade val="60000"/>
      </a:schemeClr>
    </dgm:fillClrLst>
    <dgm:linClrLst meth="repeat">
      <a:schemeClr val="lt1"/>
    </dgm:linClrLst>
    <dgm:effectClrLst/>
    <dgm:txLinClrLst/>
    <dgm:txFillClrLst/>
    <dgm:txEffectClrLst/>
  </dgm:styleLbl>
  <dgm:styleLbl name="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alignNode1">
    <dgm:fillClrLst meth="cycle">
      <a:schemeClr val="accent3">
        <a:shade val="50000"/>
      </a:schemeClr>
      <a:schemeClr val="accent3">
        <a:tint val="55000"/>
      </a:schemeClr>
    </dgm:fillClrLst>
    <dgm:linClrLst meth="cycle">
      <a:schemeClr val="accent3">
        <a:shade val="50000"/>
      </a:schemeClr>
      <a:schemeClr val="accent3">
        <a:tint val="55000"/>
      </a:schemeClr>
    </dgm:linClrLst>
    <dgm:effectClrLst/>
    <dgm:txLinClrLst/>
    <dgm:txFillClrLst/>
    <dgm:txEffectClrLst/>
  </dgm:styleLbl>
  <dgm:styleLbl name="ln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vennNode1">
    <dgm:fillClrLst meth="cycle">
      <a:schemeClr val="accent3">
        <a:shade val="80000"/>
        <a:alpha val="50000"/>
      </a:schemeClr>
      <a:schemeClr val="accent3">
        <a:tint val="50000"/>
        <a:alpha val="50000"/>
      </a:schemeClr>
    </dgm:fillClrLst>
    <dgm:linClrLst meth="repeat">
      <a:schemeClr val="lt1"/>
    </dgm:linClrLst>
    <dgm:effectClrLst/>
    <dgm:txLinClrLst/>
    <dgm:txFillClrLst/>
    <dgm:txEffectClrLst/>
  </dgm:styleLbl>
  <dgm:styleLbl name="node2">
    <dgm:fillClrLst>
      <a:schemeClr val="accent3">
        <a:shade val="80000"/>
      </a:schemeClr>
    </dgm:fillClrLst>
    <dgm:linClrLst meth="repeat">
      <a:schemeClr val="lt1"/>
    </dgm:linClrLst>
    <dgm:effectClrLst/>
    <dgm:txLinClrLst/>
    <dgm:txFillClrLst/>
    <dgm:txEffectClrLst/>
  </dgm:styleLbl>
  <dgm:styleLbl name="node3">
    <dgm:fillClrLst>
      <a:schemeClr val="accent3">
        <a:tint val="99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f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b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sibTrans1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0000"/>
      </a:schemeClr>
    </dgm:fillClrLst>
    <dgm:linClrLst meth="repeat">
      <a:schemeClr val="lt1"/>
    </dgm:linClrLst>
    <dgm:effectClrLst/>
    <dgm:txLinClrLst/>
    <dgm:txFillClrLst/>
    <dgm:txEffectClrLst/>
  </dgm:styleLbl>
  <dgm:styleLbl name="asst3">
    <dgm:fillClrLst>
      <a:schemeClr val="accent3">
        <a:tint val="70000"/>
      </a:schemeClr>
    </dgm:fillClrLst>
    <dgm:linClrLst meth="repeat">
      <a:schemeClr val="lt1"/>
    </dgm:linClrLst>
    <dgm:effectClrLst/>
    <dgm:txLinClrLst/>
    <dgm:txFillClrLst/>
    <dgm:txEffectClrLst/>
  </dgm:styleLbl>
  <dgm:styleLbl name="asst4">
    <dgm:fillClrLst>
      <a:schemeClr val="accent3">
        <a:tint val="5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align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bgAccFollowNode1">
    <dgm:fillClrLst meth="repeat">
      <a:schemeClr val="accent3">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55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15B50A6-7F81-4DB8-BF82-3F2AFA451A15}" type="doc">
      <dgm:prSet loTypeId="urn:microsoft.com/office/officeart/2009/3/layout/DescendingProcess" loCatId="process" qsTypeId="urn:microsoft.com/office/officeart/2005/8/quickstyle/simple5" qsCatId="simple" csTypeId="urn:microsoft.com/office/officeart/2005/8/colors/accent1_2" csCatId="accent1" phldr="1"/>
      <dgm:spPr/>
    </dgm:pt>
    <dgm:pt modelId="{AABADBBF-A3FE-40D1-A366-42280EF4EE7D}" type="pres">
      <dgm:prSet presAssocID="{415B50A6-7F81-4DB8-BF82-3F2AFA451A15}" presName="Name0" presStyleCnt="0">
        <dgm:presLayoutVars>
          <dgm:chMax val="7"/>
          <dgm:chPref val="5"/>
        </dgm:presLayoutVars>
      </dgm:prSet>
      <dgm:spPr/>
    </dgm:pt>
  </dgm:ptLst>
  <dgm:cxnLst>
    <dgm:cxn modelId="{5E770497-D93C-41C6-AA7D-838D8913A908}" type="presOf" srcId="{415B50A6-7F81-4DB8-BF82-3F2AFA451A15}" destId="{AABADBBF-A3FE-40D1-A366-42280EF4EE7D}" srcOrd="0" destOrd="0" presId="urn:microsoft.com/office/officeart/2009/3/layout/Descending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D563D60-69B7-48C1-9B75-4602123D04B5}" type="doc">
      <dgm:prSet loTypeId="urn:microsoft.com/office/officeart/2009/3/layout/RandomtoResultProcess" loCatId="process" qsTypeId="urn:microsoft.com/office/officeart/2005/8/quickstyle/simple1" qsCatId="simple" csTypeId="urn:microsoft.com/office/officeart/2005/8/colors/accent1_2" csCatId="accent1" phldr="1"/>
      <dgm:spPr/>
      <dgm:t>
        <a:bodyPr/>
        <a:lstStyle/>
        <a:p>
          <a:endParaRPr lang="en-SG"/>
        </a:p>
      </dgm:t>
    </dgm:pt>
    <dgm:pt modelId="{E6F18A19-AD41-4275-8195-C6B27F28E4F6}">
      <dgm:prSet phldrT="[Text]">
        <dgm:style>
          <a:lnRef idx="1">
            <a:schemeClr val="accent3"/>
          </a:lnRef>
          <a:fillRef idx="3">
            <a:schemeClr val="accent3"/>
          </a:fillRef>
          <a:effectRef idx="2">
            <a:schemeClr val="accent3"/>
          </a:effectRef>
          <a:fontRef idx="minor">
            <a:schemeClr val="lt1"/>
          </a:fontRef>
        </dgm:style>
      </dgm:prSet>
      <dgm:spPr/>
      <dgm:t>
        <a:bodyPr/>
        <a:lstStyle/>
        <a:p>
          <a:r>
            <a:rPr lang="en-SG" dirty="0"/>
            <a:t>Data Extraction</a:t>
          </a:r>
        </a:p>
      </dgm:t>
    </dgm:pt>
    <dgm:pt modelId="{3CC6F1EF-227C-4C73-85F5-CC81137F4BB7}" type="parTrans" cxnId="{30104FA1-1DF9-4781-9BAB-CFA1264257FB}">
      <dgm:prSet/>
      <dgm:spPr/>
      <dgm:t>
        <a:bodyPr/>
        <a:lstStyle/>
        <a:p>
          <a:endParaRPr lang="en-SG"/>
        </a:p>
      </dgm:t>
    </dgm:pt>
    <dgm:pt modelId="{A5366C1C-5767-4DC9-9762-6F1AAC5929C9}" type="sibTrans" cxnId="{30104FA1-1DF9-4781-9BAB-CFA1264257FB}">
      <dgm:prSet/>
      <dgm:spPr/>
      <dgm:t>
        <a:bodyPr/>
        <a:lstStyle/>
        <a:p>
          <a:endParaRPr lang="en-SG"/>
        </a:p>
      </dgm:t>
    </dgm:pt>
    <dgm:pt modelId="{A8369927-D16F-4662-90D3-0FC471ECDA84}">
      <dgm:prSet phldrT="[Text]">
        <dgm:style>
          <a:lnRef idx="0">
            <a:scrgbClr r="0" g="0" b="0"/>
          </a:lnRef>
          <a:fillRef idx="0">
            <a:scrgbClr r="0" g="0" b="0"/>
          </a:fillRef>
          <a:effectRef idx="0">
            <a:scrgbClr r="0" g="0" b="0"/>
          </a:effectRef>
          <a:fontRef idx="minor">
            <a:schemeClr val="lt1"/>
          </a:fontRef>
        </dgm:style>
      </dgm:prSet>
      <dgm:spPr>
        <a:solidFill>
          <a:schemeClr val="accent6">
            <a:alpha val="50000"/>
          </a:schemeClr>
        </a:solidFill>
        <a:ln>
          <a:noFill/>
        </a:ln>
      </dgm:spPr>
      <dgm:t>
        <a:bodyPr/>
        <a:lstStyle/>
        <a:p>
          <a:r>
            <a:rPr lang="en-SG" dirty="0"/>
            <a:t>From raw problem descriptions</a:t>
          </a:r>
        </a:p>
      </dgm:t>
    </dgm:pt>
    <dgm:pt modelId="{89C01BF0-4916-4584-9EC7-1AAB34D45E7C}" type="parTrans" cxnId="{71040FB2-B04F-434F-81D5-2E1ED05E32E6}">
      <dgm:prSet/>
      <dgm:spPr/>
      <dgm:t>
        <a:bodyPr/>
        <a:lstStyle/>
        <a:p>
          <a:endParaRPr lang="en-SG"/>
        </a:p>
      </dgm:t>
    </dgm:pt>
    <dgm:pt modelId="{AABBE47F-F38D-441F-A99F-807D000A2787}" type="sibTrans" cxnId="{71040FB2-B04F-434F-81D5-2E1ED05E32E6}">
      <dgm:prSet/>
      <dgm:spPr/>
      <dgm:t>
        <a:bodyPr/>
        <a:lstStyle/>
        <a:p>
          <a:endParaRPr lang="en-SG"/>
        </a:p>
      </dgm:t>
    </dgm:pt>
    <dgm:pt modelId="{FC2425F2-7A44-44F4-B2FD-0CD2752B6CAF}">
      <dgm:prSet phldrT="[Text]">
        <dgm:style>
          <a:lnRef idx="1">
            <a:schemeClr val="accent3"/>
          </a:lnRef>
          <a:fillRef idx="3">
            <a:schemeClr val="accent3"/>
          </a:fillRef>
          <a:effectRef idx="2">
            <a:schemeClr val="accent3"/>
          </a:effectRef>
          <a:fontRef idx="minor">
            <a:schemeClr val="lt1"/>
          </a:fontRef>
        </dgm:style>
      </dgm:prSet>
      <dgm:spPr/>
      <dgm:t>
        <a:bodyPr/>
        <a:lstStyle/>
        <a:p>
          <a:r>
            <a:rPr lang="en-SG" dirty="0"/>
            <a:t>Elimination of Special characters</a:t>
          </a:r>
        </a:p>
      </dgm:t>
    </dgm:pt>
    <dgm:pt modelId="{030C97C8-6790-4323-A938-9D87DEEB7204}" type="parTrans" cxnId="{4C54AE18-B4A8-48E6-BDF3-1744CEC5581D}">
      <dgm:prSet/>
      <dgm:spPr/>
      <dgm:t>
        <a:bodyPr/>
        <a:lstStyle/>
        <a:p>
          <a:endParaRPr lang="en-SG"/>
        </a:p>
      </dgm:t>
    </dgm:pt>
    <dgm:pt modelId="{63BC3379-D10B-405D-90E1-728AEA641BF1}" type="sibTrans" cxnId="{4C54AE18-B4A8-48E6-BDF3-1744CEC5581D}">
      <dgm:prSet/>
      <dgm:spPr/>
      <dgm:t>
        <a:bodyPr/>
        <a:lstStyle/>
        <a:p>
          <a:endParaRPr lang="en-SG"/>
        </a:p>
      </dgm:t>
    </dgm:pt>
    <dgm:pt modelId="{5DB6D0FE-5031-4F07-81EE-FB5B92C4CFB7}">
      <dgm:prSet phldrT="[Text]">
        <dgm:style>
          <a:lnRef idx="0">
            <a:scrgbClr r="0" g="0" b="0"/>
          </a:lnRef>
          <a:fillRef idx="0">
            <a:scrgbClr r="0" g="0" b="0"/>
          </a:fillRef>
          <a:effectRef idx="0">
            <a:scrgbClr r="0" g="0" b="0"/>
          </a:effectRef>
          <a:fontRef idx="minor">
            <a:schemeClr val="lt1"/>
          </a:fontRef>
        </dgm:style>
      </dgm:prSet>
      <dgm:spPr>
        <a:solidFill>
          <a:schemeClr val="accent6">
            <a:alpha val="50000"/>
          </a:schemeClr>
        </a:solidFill>
        <a:ln>
          <a:noFill/>
        </a:ln>
      </dgm:spPr>
      <dgm:t>
        <a:bodyPr/>
        <a:lstStyle/>
        <a:p>
          <a:r>
            <a:rPr lang="en-SG" b="0" dirty="0"/>
            <a:t>[,\.!?:()/_-] also new line, tab, space</a:t>
          </a:r>
          <a:endParaRPr lang="en-SG" dirty="0"/>
        </a:p>
      </dgm:t>
    </dgm:pt>
    <dgm:pt modelId="{18FB58B5-67D2-4DE8-828D-3EBCE63EED9E}" type="parTrans" cxnId="{7F4B1939-D032-47F2-89BA-007063D6BFE9}">
      <dgm:prSet/>
      <dgm:spPr/>
      <dgm:t>
        <a:bodyPr/>
        <a:lstStyle/>
        <a:p>
          <a:endParaRPr lang="en-SG"/>
        </a:p>
      </dgm:t>
    </dgm:pt>
    <dgm:pt modelId="{9897F215-8354-4A2B-8845-D7153086D3F6}" type="sibTrans" cxnId="{7F4B1939-D032-47F2-89BA-007063D6BFE9}">
      <dgm:prSet/>
      <dgm:spPr/>
      <dgm:t>
        <a:bodyPr/>
        <a:lstStyle/>
        <a:p>
          <a:endParaRPr lang="en-SG"/>
        </a:p>
      </dgm:t>
    </dgm:pt>
    <dgm:pt modelId="{8B4645DB-598D-4EF8-B496-D703407DFF5D}">
      <dgm:prSet phldrT="[Text]">
        <dgm:style>
          <a:lnRef idx="1">
            <a:schemeClr val="accent3"/>
          </a:lnRef>
          <a:fillRef idx="3">
            <a:schemeClr val="accent3"/>
          </a:fillRef>
          <a:effectRef idx="2">
            <a:schemeClr val="accent3"/>
          </a:effectRef>
          <a:fontRef idx="minor">
            <a:schemeClr val="lt1"/>
          </a:fontRef>
        </dgm:style>
      </dgm:prSet>
      <dgm:spPr/>
      <dgm:t>
        <a:bodyPr/>
        <a:lstStyle/>
        <a:p>
          <a:r>
            <a:rPr lang="en-SG" dirty="0"/>
            <a:t>Spell Correction</a:t>
          </a:r>
        </a:p>
      </dgm:t>
    </dgm:pt>
    <dgm:pt modelId="{E8EB0EC4-A4CE-4841-A4F2-9C463FBFDD57}" type="parTrans" cxnId="{498695CA-626C-461F-814B-E0DFE5E109DF}">
      <dgm:prSet/>
      <dgm:spPr/>
      <dgm:t>
        <a:bodyPr/>
        <a:lstStyle/>
        <a:p>
          <a:endParaRPr lang="en-SG"/>
        </a:p>
      </dgm:t>
    </dgm:pt>
    <dgm:pt modelId="{26B44A80-5C10-47DF-BBC6-9FEE4FB82C63}" type="sibTrans" cxnId="{498695CA-626C-461F-814B-E0DFE5E109DF}">
      <dgm:prSet/>
      <dgm:spPr/>
      <dgm:t>
        <a:bodyPr/>
        <a:lstStyle/>
        <a:p>
          <a:endParaRPr lang="en-SG"/>
        </a:p>
      </dgm:t>
    </dgm:pt>
    <dgm:pt modelId="{9F865153-E76C-43CA-AD6E-D41F4D670586}">
      <dgm:prSet phldrT="[Text]">
        <dgm:style>
          <a:lnRef idx="0">
            <a:scrgbClr r="0" g="0" b="0"/>
          </a:lnRef>
          <a:fillRef idx="0">
            <a:scrgbClr r="0" g="0" b="0"/>
          </a:fillRef>
          <a:effectRef idx="0">
            <a:scrgbClr r="0" g="0" b="0"/>
          </a:effectRef>
          <a:fontRef idx="minor">
            <a:schemeClr val="lt1"/>
          </a:fontRef>
        </dgm:style>
      </dgm:prSet>
      <dgm:spPr>
        <a:solidFill>
          <a:schemeClr val="accent6">
            <a:alpha val="50000"/>
          </a:schemeClr>
        </a:solidFill>
        <a:ln>
          <a:noFill/>
        </a:ln>
      </dgm:spPr>
      <dgm:t>
        <a:bodyPr/>
        <a:lstStyle/>
        <a:p>
          <a:r>
            <a:rPr lang="en-SG" dirty="0"/>
            <a:t>Misspelled words</a:t>
          </a:r>
        </a:p>
      </dgm:t>
    </dgm:pt>
    <dgm:pt modelId="{80361AB1-DC7E-4B5E-9715-4CB37100EE0B}" type="parTrans" cxnId="{BEA2F894-B974-4240-B539-EB19EC03724F}">
      <dgm:prSet/>
      <dgm:spPr/>
      <dgm:t>
        <a:bodyPr/>
        <a:lstStyle/>
        <a:p>
          <a:endParaRPr lang="en-SG"/>
        </a:p>
      </dgm:t>
    </dgm:pt>
    <dgm:pt modelId="{D488A261-0C40-4E22-8136-C2CA7AF78A98}" type="sibTrans" cxnId="{BEA2F894-B974-4240-B539-EB19EC03724F}">
      <dgm:prSet/>
      <dgm:spPr/>
      <dgm:t>
        <a:bodyPr/>
        <a:lstStyle/>
        <a:p>
          <a:endParaRPr lang="en-SG"/>
        </a:p>
      </dgm:t>
    </dgm:pt>
    <dgm:pt modelId="{C7B67B4A-4520-486F-90F4-B0928B9A4844}">
      <dgm:prSet phldrT="[Text]">
        <dgm:style>
          <a:lnRef idx="1">
            <a:schemeClr val="accent3"/>
          </a:lnRef>
          <a:fillRef idx="3">
            <a:schemeClr val="accent3"/>
          </a:fillRef>
          <a:effectRef idx="2">
            <a:schemeClr val="accent3"/>
          </a:effectRef>
          <a:fontRef idx="minor">
            <a:schemeClr val="lt1"/>
          </a:fontRef>
        </dgm:style>
      </dgm:prSet>
      <dgm:spPr/>
      <dgm:t>
        <a:bodyPr/>
        <a:lstStyle/>
        <a:p>
          <a:r>
            <a:rPr lang="en-SG" dirty="0"/>
            <a:t>Removal of Stop Words</a:t>
          </a:r>
        </a:p>
      </dgm:t>
    </dgm:pt>
    <dgm:pt modelId="{098BE4B8-2516-4CE5-8AD5-68616BE6F1CD}" type="parTrans" cxnId="{91055DCC-5FE0-4577-8A3F-1F2427344A2B}">
      <dgm:prSet/>
      <dgm:spPr/>
      <dgm:t>
        <a:bodyPr/>
        <a:lstStyle/>
        <a:p>
          <a:endParaRPr lang="en-SG"/>
        </a:p>
      </dgm:t>
    </dgm:pt>
    <dgm:pt modelId="{0EBC8B56-A2D2-44EC-A5ED-70C827A9785B}" type="sibTrans" cxnId="{91055DCC-5FE0-4577-8A3F-1F2427344A2B}">
      <dgm:prSet/>
      <dgm:spPr/>
      <dgm:t>
        <a:bodyPr/>
        <a:lstStyle/>
        <a:p>
          <a:endParaRPr lang="en-SG"/>
        </a:p>
      </dgm:t>
    </dgm:pt>
    <dgm:pt modelId="{FAFF10FB-99ED-4F0C-800B-70C91CCC5AA9}">
      <dgm:prSet phldrT="[Text]">
        <dgm:style>
          <a:lnRef idx="1">
            <a:schemeClr val="accent3"/>
          </a:lnRef>
          <a:fillRef idx="3">
            <a:schemeClr val="accent3"/>
          </a:fillRef>
          <a:effectRef idx="2">
            <a:schemeClr val="accent3"/>
          </a:effectRef>
          <a:fontRef idx="minor">
            <a:schemeClr val="lt1"/>
          </a:fontRef>
        </dgm:style>
      </dgm:prSet>
      <dgm:spPr/>
      <dgm:t>
        <a:bodyPr/>
        <a:lstStyle/>
        <a:p>
          <a:r>
            <a:rPr lang="en-SG" dirty="0"/>
            <a:t>Removal of Non-Dict Words</a:t>
          </a:r>
        </a:p>
      </dgm:t>
    </dgm:pt>
    <dgm:pt modelId="{C5F57525-6AF9-437B-84FC-3FB01D3012F1}" type="parTrans" cxnId="{C906079A-2DA3-461C-9F31-C9F05E2F86E8}">
      <dgm:prSet/>
      <dgm:spPr/>
      <dgm:t>
        <a:bodyPr/>
        <a:lstStyle/>
        <a:p>
          <a:endParaRPr lang="en-SG"/>
        </a:p>
      </dgm:t>
    </dgm:pt>
    <dgm:pt modelId="{2E62437C-E524-46C6-87C6-B80D746F814B}" type="sibTrans" cxnId="{C906079A-2DA3-461C-9F31-C9F05E2F86E8}">
      <dgm:prSet/>
      <dgm:spPr/>
      <dgm:t>
        <a:bodyPr/>
        <a:lstStyle/>
        <a:p>
          <a:endParaRPr lang="en-SG"/>
        </a:p>
      </dgm:t>
    </dgm:pt>
    <dgm:pt modelId="{71427941-58F7-4EEE-9DC2-464400671D5E}">
      <dgm:prSet phldrT="[Text]">
        <dgm:style>
          <a:lnRef idx="1">
            <a:schemeClr val="accent3"/>
          </a:lnRef>
          <a:fillRef idx="3">
            <a:schemeClr val="accent3"/>
          </a:fillRef>
          <a:effectRef idx="2">
            <a:schemeClr val="accent3"/>
          </a:effectRef>
          <a:fontRef idx="minor">
            <a:schemeClr val="lt1"/>
          </a:fontRef>
        </dgm:style>
      </dgm:prSet>
      <dgm:spPr/>
      <dgm:t>
        <a:bodyPr/>
        <a:lstStyle/>
        <a:p>
          <a:r>
            <a:rPr lang="en-SG" dirty="0"/>
            <a:t>Final Sentence for the Model</a:t>
          </a:r>
        </a:p>
      </dgm:t>
    </dgm:pt>
    <dgm:pt modelId="{70972033-F960-40BC-A5BF-3E7936F007F6}" type="parTrans" cxnId="{FDFB1D49-7B6E-4657-8986-E1D9AC3FBF20}">
      <dgm:prSet/>
      <dgm:spPr/>
      <dgm:t>
        <a:bodyPr/>
        <a:lstStyle/>
        <a:p>
          <a:endParaRPr lang="en-SG"/>
        </a:p>
      </dgm:t>
    </dgm:pt>
    <dgm:pt modelId="{948C9302-3AA0-408E-8852-8D52CD7F4347}" type="sibTrans" cxnId="{FDFB1D49-7B6E-4657-8986-E1D9AC3FBF20}">
      <dgm:prSet/>
      <dgm:spPr/>
      <dgm:t>
        <a:bodyPr/>
        <a:lstStyle/>
        <a:p>
          <a:endParaRPr lang="en-SG"/>
        </a:p>
      </dgm:t>
    </dgm:pt>
    <dgm:pt modelId="{5A9A4D66-58C1-4282-9A66-9A4EA5549AC9}">
      <dgm:prSet phldrT="[Text]">
        <dgm:style>
          <a:lnRef idx="1">
            <a:schemeClr val="accent3"/>
          </a:lnRef>
          <a:fillRef idx="3">
            <a:schemeClr val="accent3"/>
          </a:fillRef>
          <a:effectRef idx="2">
            <a:schemeClr val="accent3"/>
          </a:effectRef>
          <a:fontRef idx="minor">
            <a:schemeClr val="lt1"/>
          </a:fontRef>
        </dgm:style>
      </dgm:prSet>
      <dgm:spPr>
        <a:solidFill>
          <a:schemeClr val="accent6">
            <a:alpha val="50000"/>
          </a:schemeClr>
        </a:solidFill>
        <a:ln>
          <a:noFill/>
        </a:ln>
      </dgm:spPr>
      <dgm:t>
        <a:bodyPr/>
        <a:lstStyle/>
        <a:p>
          <a:r>
            <a:rPr lang="en-SG" dirty="0">
              <a:effectLst/>
            </a:rPr>
            <a:t>To bring back the base form of words. Specifically, the ed, es, s etc. </a:t>
          </a:r>
        </a:p>
      </dgm:t>
    </dgm:pt>
    <dgm:pt modelId="{12B851A2-93AD-444A-8902-181178BB5DC0}" type="parTrans" cxnId="{82ED295F-C97B-4CF2-9DF7-06FB42EFAB24}">
      <dgm:prSet/>
      <dgm:spPr/>
      <dgm:t>
        <a:bodyPr/>
        <a:lstStyle/>
        <a:p>
          <a:endParaRPr lang="en-SG"/>
        </a:p>
      </dgm:t>
    </dgm:pt>
    <dgm:pt modelId="{8DC19303-4297-4190-8223-C15722F5C4CF}" type="sibTrans" cxnId="{82ED295F-C97B-4CF2-9DF7-06FB42EFAB24}">
      <dgm:prSet/>
      <dgm:spPr/>
      <dgm:t>
        <a:bodyPr/>
        <a:lstStyle/>
        <a:p>
          <a:endParaRPr lang="en-SG"/>
        </a:p>
      </dgm:t>
    </dgm:pt>
    <dgm:pt modelId="{1C0B7223-E2BC-4FE8-B31D-CE16F6064F08}">
      <dgm:prSet phldrT="[Text]">
        <dgm:style>
          <a:lnRef idx="1">
            <a:schemeClr val="accent3"/>
          </a:lnRef>
          <a:fillRef idx="3">
            <a:schemeClr val="accent3"/>
          </a:fillRef>
          <a:effectRef idx="2">
            <a:schemeClr val="accent3"/>
          </a:effectRef>
          <a:fontRef idx="minor">
            <a:schemeClr val="lt1"/>
          </a:fontRef>
        </dgm:style>
      </dgm:prSet>
      <dgm:spPr/>
      <dgm:t>
        <a:bodyPr/>
        <a:lstStyle/>
        <a:p>
          <a:r>
            <a:rPr lang="en-SG" dirty="0"/>
            <a:t>Lemmatization</a:t>
          </a:r>
        </a:p>
      </dgm:t>
    </dgm:pt>
    <dgm:pt modelId="{6B253ED8-AF5A-4FB2-B92D-DD199F4EE7F4}" type="sibTrans" cxnId="{785AE336-E14E-4D00-B7BF-37C6FAE4E0AC}">
      <dgm:prSet/>
      <dgm:spPr/>
      <dgm:t>
        <a:bodyPr/>
        <a:lstStyle/>
        <a:p>
          <a:endParaRPr lang="en-SG"/>
        </a:p>
      </dgm:t>
    </dgm:pt>
    <dgm:pt modelId="{18B62233-97A8-4A6B-8D72-DCDA5C78FDE9}" type="parTrans" cxnId="{785AE336-E14E-4D00-B7BF-37C6FAE4E0AC}">
      <dgm:prSet/>
      <dgm:spPr/>
      <dgm:t>
        <a:bodyPr/>
        <a:lstStyle/>
        <a:p>
          <a:endParaRPr lang="en-SG"/>
        </a:p>
      </dgm:t>
    </dgm:pt>
    <dgm:pt modelId="{D63AC2E6-298A-45B7-ABEA-9F14853CFBC4}">
      <dgm:prSet phldrT="[Text]" custT="1">
        <dgm:style>
          <a:lnRef idx="0">
            <a:scrgbClr r="0" g="0" b="0"/>
          </a:lnRef>
          <a:fillRef idx="0">
            <a:scrgbClr r="0" g="0" b="0"/>
          </a:fillRef>
          <a:effectRef idx="0">
            <a:scrgbClr r="0" g="0" b="0"/>
          </a:effectRef>
          <a:fontRef idx="minor">
            <a:schemeClr val="lt1"/>
          </a:fontRef>
        </dgm:style>
      </dgm:prSet>
      <dgm:spPr>
        <a:solidFill>
          <a:schemeClr val="accent6">
            <a:alpha val="50000"/>
          </a:schemeClr>
        </a:solidFill>
        <a:ln>
          <a:noFill/>
        </a:ln>
      </dgm:spPr>
      <dgm:t>
        <a:bodyPr/>
        <a:lstStyle/>
        <a:p>
          <a:pPr algn="ctr">
            <a:buNone/>
          </a:pPr>
          <a:r>
            <a:rPr lang="en-SG" sz="800" dirty="0"/>
            <a:t>prepositions, interjections, adverbs, pronouns, introductory words</a:t>
          </a:r>
        </a:p>
      </dgm:t>
    </dgm:pt>
    <dgm:pt modelId="{8D83CE92-C7AD-4C87-8E06-C2FFA58DC345}" type="parTrans" cxnId="{F5D0C709-2782-4EF8-AAB1-46239354F995}">
      <dgm:prSet/>
      <dgm:spPr/>
      <dgm:t>
        <a:bodyPr/>
        <a:lstStyle/>
        <a:p>
          <a:endParaRPr lang="en-SG"/>
        </a:p>
      </dgm:t>
    </dgm:pt>
    <dgm:pt modelId="{A3D48B89-A3D3-4D84-A24A-C034E94BC526}" type="sibTrans" cxnId="{F5D0C709-2782-4EF8-AAB1-46239354F995}">
      <dgm:prSet/>
      <dgm:spPr/>
      <dgm:t>
        <a:bodyPr/>
        <a:lstStyle/>
        <a:p>
          <a:endParaRPr lang="en-SG"/>
        </a:p>
      </dgm:t>
    </dgm:pt>
    <dgm:pt modelId="{041CAFAD-8E1A-4AD9-85FF-6EAC2564EE12}">
      <dgm:prSet phldrT="[Text]" custT="1">
        <dgm:style>
          <a:lnRef idx="0">
            <a:scrgbClr r="0" g="0" b="0"/>
          </a:lnRef>
          <a:fillRef idx="0">
            <a:scrgbClr r="0" g="0" b="0"/>
          </a:fillRef>
          <a:effectRef idx="0">
            <a:scrgbClr r="0" g="0" b="0"/>
          </a:effectRef>
          <a:fontRef idx="minor">
            <a:schemeClr val="lt1"/>
          </a:fontRef>
        </dgm:style>
      </dgm:prSet>
      <dgm:spPr>
        <a:solidFill>
          <a:schemeClr val="accent6">
            <a:alpha val="50000"/>
          </a:schemeClr>
        </a:solidFill>
        <a:ln>
          <a:noFill/>
        </a:ln>
      </dgm:spPr>
      <dgm:t>
        <a:bodyPr/>
        <a:lstStyle/>
        <a:p>
          <a:pPr algn="ctr">
            <a:buNone/>
          </a:pPr>
          <a:r>
            <a:rPr lang="en-SG" sz="800" dirty="0"/>
            <a:t>Words like mkz, sin, Infineon, Camstar, site. </a:t>
          </a:r>
        </a:p>
      </dgm:t>
    </dgm:pt>
    <dgm:pt modelId="{32262573-A471-4CC8-BAFA-8A0004D8D1C3}" type="parTrans" cxnId="{DA289588-EF00-4FF3-BB9C-6564AFFAD1D4}">
      <dgm:prSet/>
      <dgm:spPr/>
      <dgm:t>
        <a:bodyPr/>
        <a:lstStyle/>
        <a:p>
          <a:endParaRPr lang="en-SG"/>
        </a:p>
      </dgm:t>
    </dgm:pt>
    <dgm:pt modelId="{2B5DC9F6-9438-4A8A-8A5F-657717EA0F9F}" type="sibTrans" cxnId="{DA289588-EF00-4FF3-BB9C-6564AFFAD1D4}">
      <dgm:prSet/>
      <dgm:spPr/>
      <dgm:t>
        <a:bodyPr/>
        <a:lstStyle/>
        <a:p>
          <a:endParaRPr lang="en-SG"/>
        </a:p>
      </dgm:t>
    </dgm:pt>
    <dgm:pt modelId="{649824AD-6561-461E-BADB-2014C81FB392}" type="pres">
      <dgm:prSet presAssocID="{BD563D60-69B7-48C1-9B75-4602123D04B5}" presName="Name0" presStyleCnt="0">
        <dgm:presLayoutVars>
          <dgm:dir/>
          <dgm:animOne val="branch"/>
          <dgm:animLvl val="lvl"/>
        </dgm:presLayoutVars>
      </dgm:prSet>
      <dgm:spPr/>
    </dgm:pt>
    <dgm:pt modelId="{235F4EE4-C0CD-4697-B7F0-1724100546E2}" type="pres">
      <dgm:prSet presAssocID="{E6F18A19-AD41-4275-8195-C6B27F28E4F6}" presName="chaos" presStyleCnt="0"/>
      <dgm:spPr/>
    </dgm:pt>
    <dgm:pt modelId="{CFB6FFF4-C3B1-4620-B0F3-591249BAC70D}" type="pres">
      <dgm:prSet presAssocID="{E6F18A19-AD41-4275-8195-C6B27F28E4F6}" presName="parTx1" presStyleLbl="revTx" presStyleIdx="0" presStyleCnt="11"/>
      <dgm:spPr/>
    </dgm:pt>
    <dgm:pt modelId="{F8044E71-4A44-4F6B-9715-88E87E663B30}" type="pres">
      <dgm:prSet presAssocID="{E6F18A19-AD41-4275-8195-C6B27F28E4F6}" presName="desTx1" presStyleLbl="revTx" presStyleIdx="1" presStyleCnt="11">
        <dgm:presLayoutVars>
          <dgm:bulletEnabled val="1"/>
        </dgm:presLayoutVars>
      </dgm:prSet>
      <dgm:spPr/>
    </dgm:pt>
    <dgm:pt modelId="{0D867A4E-F6AF-45F7-9C5A-427C1E837ED2}" type="pres">
      <dgm:prSet presAssocID="{E6F18A19-AD41-4275-8195-C6B27F28E4F6}" presName="c1" presStyleLbl="node1" presStyleIdx="0" presStyleCnt="19"/>
      <dgm:spPr/>
    </dgm:pt>
    <dgm:pt modelId="{94FA3584-ED36-480B-B5D2-C5C4E7798FC4}" type="pres">
      <dgm:prSet presAssocID="{E6F18A19-AD41-4275-8195-C6B27F28E4F6}" presName="c2" presStyleLbl="node1" presStyleIdx="1" presStyleCnt="19"/>
      <dgm:spPr/>
    </dgm:pt>
    <dgm:pt modelId="{2447CC17-4695-4ACC-AE2D-20FAC378B6F8}" type="pres">
      <dgm:prSet presAssocID="{E6F18A19-AD41-4275-8195-C6B27F28E4F6}" presName="c3" presStyleLbl="node1" presStyleIdx="2" presStyleCnt="19"/>
      <dgm:spPr/>
    </dgm:pt>
    <dgm:pt modelId="{702D72FE-32DC-4AB7-89DC-8DF988E6CA05}" type="pres">
      <dgm:prSet presAssocID="{E6F18A19-AD41-4275-8195-C6B27F28E4F6}" presName="c4" presStyleLbl="node1" presStyleIdx="3" presStyleCnt="19"/>
      <dgm:spPr/>
    </dgm:pt>
    <dgm:pt modelId="{6B340A0D-76DE-44F2-A8DB-431DE6CC110E}" type="pres">
      <dgm:prSet presAssocID="{E6F18A19-AD41-4275-8195-C6B27F28E4F6}" presName="c5" presStyleLbl="node1" presStyleIdx="4" presStyleCnt="19"/>
      <dgm:spPr/>
    </dgm:pt>
    <dgm:pt modelId="{7DA6E6C8-923C-43D8-A9CB-76DABD5ECE72}" type="pres">
      <dgm:prSet presAssocID="{E6F18A19-AD41-4275-8195-C6B27F28E4F6}" presName="c6" presStyleLbl="node1" presStyleIdx="5" presStyleCnt="19"/>
      <dgm:spPr/>
    </dgm:pt>
    <dgm:pt modelId="{A1F3EE40-BE98-49FC-8A13-34169132A98D}" type="pres">
      <dgm:prSet presAssocID="{E6F18A19-AD41-4275-8195-C6B27F28E4F6}" presName="c7" presStyleLbl="node1" presStyleIdx="6" presStyleCnt="19"/>
      <dgm:spPr/>
    </dgm:pt>
    <dgm:pt modelId="{8CAE9800-CCFC-4386-B6AC-45BB2CB9B970}" type="pres">
      <dgm:prSet presAssocID="{E6F18A19-AD41-4275-8195-C6B27F28E4F6}" presName="c8" presStyleLbl="node1" presStyleIdx="7" presStyleCnt="19"/>
      <dgm:spPr/>
    </dgm:pt>
    <dgm:pt modelId="{27ACAA4D-A84E-4296-9568-386B6F992EA7}" type="pres">
      <dgm:prSet presAssocID="{E6F18A19-AD41-4275-8195-C6B27F28E4F6}" presName="c9" presStyleLbl="node1" presStyleIdx="8" presStyleCnt="19"/>
      <dgm:spPr/>
    </dgm:pt>
    <dgm:pt modelId="{39B87DAF-1FA6-4198-9321-8E70E9ABEA0C}" type="pres">
      <dgm:prSet presAssocID="{E6F18A19-AD41-4275-8195-C6B27F28E4F6}" presName="c10" presStyleLbl="node1" presStyleIdx="9" presStyleCnt="19"/>
      <dgm:spPr/>
    </dgm:pt>
    <dgm:pt modelId="{D59B5A86-FC2F-4D7F-804A-50D48CEED916}" type="pres">
      <dgm:prSet presAssocID="{E6F18A19-AD41-4275-8195-C6B27F28E4F6}" presName="c11" presStyleLbl="node1" presStyleIdx="10" presStyleCnt="19"/>
      <dgm:spPr/>
    </dgm:pt>
    <dgm:pt modelId="{FB7E70C4-97C2-44C9-A675-E2DDEB10BAF6}" type="pres">
      <dgm:prSet presAssocID="{E6F18A19-AD41-4275-8195-C6B27F28E4F6}" presName="c12" presStyleLbl="node1" presStyleIdx="11" presStyleCnt="19"/>
      <dgm:spPr/>
    </dgm:pt>
    <dgm:pt modelId="{4DFD7102-9646-4B4F-9894-4661F8FD509A}" type="pres">
      <dgm:prSet presAssocID="{E6F18A19-AD41-4275-8195-C6B27F28E4F6}" presName="c13" presStyleLbl="node1" presStyleIdx="12" presStyleCnt="19"/>
      <dgm:spPr/>
    </dgm:pt>
    <dgm:pt modelId="{BBBB05F4-6EB8-46D1-9CE3-0793DAFB12C4}" type="pres">
      <dgm:prSet presAssocID="{E6F18A19-AD41-4275-8195-C6B27F28E4F6}" presName="c14" presStyleLbl="node1" presStyleIdx="13" presStyleCnt="19"/>
      <dgm:spPr/>
    </dgm:pt>
    <dgm:pt modelId="{1CC395C0-A91C-4067-8037-7BA98DC77A09}" type="pres">
      <dgm:prSet presAssocID="{E6F18A19-AD41-4275-8195-C6B27F28E4F6}" presName="c15" presStyleLbl="node1" presStyleIdx="14" presStyleCnt="19"/>
      <dgm:spPr/>
    </dgm:pt>
    <dgm:pt modelId="{491184A8-6FF9-4E09-B981-97370773D8E9}" type="pres">
      <dgm:prSet presAssocID="{E6F18A19-AD41-4275-8195-C6B27F28E4F6}" presName="c16" presStyleLbl="node1" presStyleIdx="15" presStyleCnt="19"/>
      <dgm:spPr/>
    </dgm:pt>
    <dgm:pt modelId="{3D2369A2-A27C-44CC-AABE-FF55DAA451C6}" type="pres">
      <dgm:prSet presAssocID="{E6F18A19-AD41-4275-8195-C6B27F28E4F6}" presName="c17" presStyleLbl="node1" presStyleIdx="16" presStyleCnt="19"/>
      <dgm:spPr/>
    </dgm:pt>
    <dgm:pt modelId="{713E1EBD-AFAF-475F-91B3-39D868C9E9DF}" type="pres">
      <dgm:prSet presAssocID="{E6F18A19-AD41-4275-8195-C6B27F28E4F6}" presName="c18" presStyleLbl="node1" presStyleIdx="17" presStyleCnt="19"/>
      <dgm:spPr/>
    </dgm:pt>
    <dgm:pt modelId="{C3B80617-E42F-436A-B816-A11B55F3D083}" type="pres">
      <dgm:prSet presAssocID="{A5366C1C-5767-4DC9-9762-6F1AAC5929C9}" presName="chevronComposite1" presStyleCnt="0"/>
      <dgm:spPr/>
    </dgm:pt>
    <dgm:pt modelId="{F19BE34D-8E87-4370-9C0B-65015E62126B}" type="pres">
      <dgm:prSet presAssocID="{A5366C1C-5767-4DC9-9762-6F1AAC5929C9}" presName="chevron1" presStyleLbl="sibTrans2D1" presStyleIdx="0" presStyleCnt="6"/>
      <dgm:spPr/>
    </dgm:pt>
    <dgm:pt modelId="{CE3FB7FA-5CE8-4CEF-8A7F-44D72F4A917D}" type="pres">
      <dgm:prSet presAssocID="{A5366C1C-5767-4DC9-9762-6F1AAC5929C9}" presName="spChevron1" presStyleCnt="0"/>
      <dgm:spPr/>
    </dgm:pt>
    <dgm:pt modelId="{62B3C890-C266-42C9-983E-23E50D77E645}" type="pres">
      <dgm:prSet presAssocID="{FC2425F2-7A44-44F4-B2FD-0CD2752B6CAF}" presName="middle" presStyleCnt="0"/>
      <dgm:spPr/>
    </dgm:pt>
    <dgm:pt modelId="{2B6C1380-495C-4C3F-A87B-C81B0F58F17C}" type="pres">
      <dgm:prSet presAssocID="{FC2425F2-7A44-44F4-B2FD-0CD2752B6CAF}" presName="parTxMid" presStyleLbl="revTx" presStyleIdx="2" presStyleCnt="11"/>
      <dgm:spPr/>
    </dgm:pt>
    <dgm:pt modelId="{608FB1E5-1C02-4875-886D-562150FC837F}" type="pres">
      <dgm:prSet presAssocID="{FC2425F2-7A44-44F4-B2FD-0CD2752B6CAF}" presName="desTxMid" presStyleLbl="revTx" presStyleIdx="3" presStyleCnt="11">
        <dgm:presLayoutVars>
          <dgm:bulletEnabled val="1"/>
        </dgm:presLayoutVars>
      </dgm:prSet>
      <dgm:spPr/>
    </dgm:pt>
    <dgm:pt modelId="{41AEDA02-4866-4E7F-8B79-4AD34B624749}" type="pres">
      <dgm:prSet presAssocID="{FC2425F2-7A44-44F4-B2FD-0CD2752B6CAF}" presName="spMid" presStyleCnt="0"/>
      <dgm:spPr/>
    </dgm:pt>
    <dgm:pt modelId="{70D77B96-38F1-4071-8AE7-8DE7FABBFE49}" type="pres">
      <dgm:prSet presAssocID="{63BC3379-D10B-405D-90E1-728AEA641BF1}" presName="chevronComposite1" presStyleCnt="0"/>
      <dgm:spPr/>
    </dgm:pt>
    <dgm:pt modelId="{A8DD977A-8538-4E8F-91C5-8FC5ADE93119}" type="pres">
      <dgm:prSet presAssocID="{63BC3379-D10B-405D-90E1-728AEA641BF1}" presName="chevron1" presStyleLbl="sibTrans2D1" presStyleIdx="1" presStyleCnt="6"/>
      <dgm:spPr/>
    </dgm:pt>
    <dgm:pt modelId="{DA714BA7-F54F-4F22-A6CF-335D2C537831}" type="pres">
      <dgm:prSet presAssocID="{63BC3379-D10B-405D-90E1-728AEA641BF1}" presName="spChevron1" presStyleCnt="0"/>
      <dgm:spPr/>
    </dgm:pt>
    <dgm:pt modelId="{1B9E5027-9539-4D13-881F-1E1E68D2C66E}" type="pres">
      <dgm:prSet presAssocID="{8B4645DB-598D-4EF8-B496-D703407DFF5D}" presName="middle" presStyleCnt="0"/>
      <dgm:spPr/>
    </dgm:pt>
    <dgm:pt modelId="{D552A141-7B79-4FDB-A0D4-6AC11E5C2667}" type="pres">
      <dgm:prSet presAssocID="{8B4645DB-598D-4EF8-B496-D703407DFF5D}" presName="parTxMid" presStyleLbl="revTx" presStyleIdx="4" presStyleCnt="11"/>
      <dgm:spPr/>
    </dgm:pt>
    <dgm:pt modelId="{3845B668-850C-4E6F-9FAB-D790B7C03445}" type="pres">
      <dgm:prSet presAssocID="{8B4645DB-598D-4EF8-B496-D703407DFF5D}" presName="desTxMid" presStyleLbl="revTx" presStyleIdx="5" presStyleCnt="11">
        <dgm:presLayoutVars>
          <dgm:bulletEnabled val="1"/>
        </dgm:presLayoutVars>
      </dgm:prSet>
      <dgm:spPr/>
    </dgm:pt>
    <dgm:pt modelId="{878DFAD9-4CA2-45E2-AC71-2AD373B23C85}" type="pres">
      <dgm:prSet presAssocID="{8B4645DB-598D-4EF8-B496-D703407DFF5D}" presName="spMid" presStyleCnt="0"/>
      <dgm:spPr/>
    </dgm:pt>
    <dgm:pt modelId="{6E8FC371-8BAE-402C-AE56-8B604548B152}" type="pres">
      <dgm:prSet presAssocID="{26B44A80-5C10-47DF-BBC6-9FEE4FB82C63}" presName="chevronComposite1" presStyleCnt="0"/>
      <dgm:spPr/>
    </dgm:pt>
    <dgm:pt modelId="{18209C58-1519-4327-92F8-DDB54F804FFF}" type="pres">
      <dgm:prSet presAssocID="{26B44A80-5C10-47DF-BBC6-9FEE4FB82C63}" presName="chevron1" presStyleLbl="sibTrans2D1" presStyleIdx="2" presStyleCnt="6"/>
      <dgm:spPr/>
    </dgm:pt>
    <dgm:pt modelId="{9425FDEC-B2FA-4FD1-AA77-7D2040AACCAC}" type="pres">
      <dgm:prSet presAssocID="{26B44A80-5C10-47DF-BBC6-9FEE4FB82C63}" presName="spChevron1" presStyleCnt="0"/>
      <dgm:spPr/>
    </dgm:pt>
    <dgm:pt modelId="{897D738A-55AC-4B84-90BA-6741A40A742F}" type="pres">
      <dgm:prSet presAssocID="{C7B67B4A-4520-486F-90F4-B0928B9A4844}" presName="middle" presStyleCnt="0"/>
      <dgm:spPr/>
    </dgm:pt>
    <dgm:pt modelId="{ACD1439E-CBB9-4A03-9D66-1F607B1977B6}" type="pres">
      <dgm:prSet presAssocID="{C7B67B4A-4520-486F-90F4-B0928B9A4844}" presName="parTxMid" presStyleLbl="revTx" presStyleIdx="6" presStyleCnt="11"/>
      <dgm:spPr/>
    </dgm:pt>
    <dgm:pt modelId="{7286C81A-E547-49D4-A7CC-DF9864091126}" type="pres">
      <dgm:prSet presAssocID="{C7B67B4A-4520-486F-90F4-B0928B9A4844}" presName="desTxMid" presStyleLbl="revTx" presStyleIdx="7" presStyleCnt="11" custScaleX="128977" custScaleY="116791">
        <dgm:presLayoutVars>
          <dgm:bulletEnabled val="1"/>
        </dgm:presLayoutVars>
      </dgm:prSet>
      <dgm:spPr/>
    </dgm:pt>
    <dgm:pt modelId="{897DDE62-EE1B-4E28-B4BE-894FD304B024}" type="pres">
      <dgm:prSet presAssocID="{C7B67B4A-4520-486F-90F4-B0928B9A4844}" presName="spMid" presStyleCnt="0"/>
      <dgm:spPr/>
    </dgm:pt>
    <dgm:pt modelId="{D1E5A36A-5B30-4995-830D-9E7F2EE7917A}" type="pres">
      <dgm:prSet presAssocID="{0EBC8B56-A2D2-44EC-A5ED-70C827A9785B}" presName="chevronComposite1" presStyleCnt="0"/>
      <dgm:spPr/>
    </dgm:pt>
    <dgm:pt modelId="{DE3FB428-35B5-4638-B7D5-0958DA410461}" type="pres">
      <dgm:prSet presAssocID="{0EBC8B56-A2D2-44EC-A5ED-70C827A9785B}" presName="chevron1" presStyleLbl="sibTrans2D1" presStyleIdx="3" presStyleCnt="6"/>
      <dgm:spPr/>
    </dgm:pt>
    <dgm:pt modelId="{CFCBE1E3-0B67-4976-9F84-CFEAACC404B3}" type="pres">
      <dgm:prSet presAssocID="{0EBC8B56-A2D2-44EC-A5ED-70C827A9785B}" presName="spChevron1" presStyleCnt="0"/>
      <dgm:spPr/>
    </dgm:pt>
    <dgm:pt modelId="{E1CF3652-0482-4DF9-B330-D6DA71E2C30E}" type="pres">
      <dgm:prSet presAssocID="{1C0B7223-E2BC-4FE8-B31D-CE16F6064F08}" presName="middle" presStyleCnt="0"/>
      <dgm:spPr/>
    </dgm:pt>
    <dgm:pt modelId="{51D86878-FAE0-4B91-8F87-44A3E1DFE9B2}" type="pres">
      <dgm:prSet presAssocID="{1C0B7223-E2BC-4FE8-B31D-CE16F6064F08}" presName="parTxMid" presStyleLbl="revTx" presStyleIdx="8" presStyleCnt="11"/>
      <dgm:spPr/>
    </dgm:pt>
    <dgm:pt modelId="{FD45EE1D-0FEA-4E3A-A045-5E94B54C4EF8}" type="pres">
      <dgm:prSet presAssocID="{1C0B7223-E2BC-4FE8-B31D-CE16F6064F08}" presName="desTxMid" presStyleLbl="revTx" presStyleIdx="9" presStyleCnt="11">
        <dgm:presLayoutVars>
          <dgm:bulletEnabled val="1"/>
        </dgm:presLayoutVars>
      </dgm:prSet>
      <dgm:spPr/>
    </dgm:pt>
    <dgm:pt modelId="{246A69A1-412B-48E9-8990-1EC2BBA040DD}" type="pres">
      <dgm:prSet presAssocID="{1C0B7223-E2BC-4FE8-B31D-CE16F6064F08}" presName="spMid" presStyleCnt="0"/>
      <dgm:spPr/>
    </dgm:pt>
    <dgm:pt modelId="{E5D94474-AEB0-4762-B898-C4E35071A971}" type="pres">
      <dgm:prSet presAssocID="{6B253ED8-AF5A-4FB2-B92D-DD199F4EE7F4}" presName="chevronComposite1" presStyleCnt="0"/>
      <dgm:spPr/>
    </dgm:pt>
    <dgm:pt modelId="{7DB107B4-BF30-4224-9B4A-57BEB83F511E}" type="pres">
      <dgm:prSet presAssocID="{6B253ED8-AF5A-4FB2-B92D-DD199F4EE7F4}" presName="chevron1" presStyleLbl="sibTrans2D1" presStyleIdx="4" presStyleCnt="6"/>
      <dgm:spPr/>
    </dgm:pt>
    <dgm:pt modelId="{62984133-2DF5-493D-A41D-06525F02774E}" type="pres">
      <dgm:prSet presAssocID="{6B253ED8-AF5A-4FB2-B92D-DD199F4EE7F4}" presName="spChevron1" presStyleCnt="0"/>
      <dgm:spPr/>
    </dgm:pt>
    <dgm:pt modelId="{E60AA787-C854-4425-BD0B-CE2A83F2E222}" type="pres">
      <dgm:prSet presAssocID="{FAFF10FB-99ED-4F0C-800B-70C91CCC5AA9}" presName="middle" presStyleCnt="0"/>
      <dgm:spPr/>
    </dgm:pt>
    <dgm:pt modelId="{222458F3-D787-4250-A2F9-84AEE00A8AA2}" type="pres">
      <dgm:prSet presAssocID="{FAFF10FB-99ED-4F0C-800B-70C91CCC5AA9}" presName="parTxMid" presStyleLbl="revTx" presStyleIdx="10" presStyleCnt="11"/>
      <dgm:spPr/>
    </dgm:pt>
    <dgm:pt modelId="{DF2E4FD8-DD59-434F-82AD-5A3B423DDAFB}" type="pres">
      <dgm:prSet presAssocID="{FAFF10FB-99ED-4F0C-800B-70C91CCC5AA9}" presName="spMid" presStyleCnt="0"/>
      <dgm:spPr/>
    </dgm:pt>
    <dgm:pt modelId="{3B38BE87-F9A4-434F-948B-E21DFEE07326}" type="pres">
      <dgm:prSet presAssocID="{2E62437C-E524-46C6-87C6-B80D746F814B}" presName="chevronComposite1" presStyleCnt="0"/>
      <dgm:spPr/>
    </dgm:pt>
    <dgm:pt modelId="{4E3E3A56-7E8B-4CE7-8B54-5E12913D8142}" type="pres">
      <dgm:prSet presAssocID="{2E62437C-E524-46C6-87C6-B80D746F814B}" presName="chevron1" presStyleLbl="sibTrans2D1" presStyleIdx="5" presStyleCnt="6"/>
      <dgm:spPr/>
    </dgm:pt>
    <dgm:pt modelId="{CA1E1A9A-AAAE-4ABE-8A63-E911608F3134}" type="pres">
      <dgm:prSet presAssocID="{2E62437C-E524-46C6-87C6-B80D746F814B}" presName="spChevron1" presStyleCnt="0"/>
      <dgm:spPr/>
    </dgm:pt>
    <dgm:pt modelId="{3F90A6C7-24D9-4F65-9534-46664BB74109}" type="pres">
      <dgm:prSet presAssocID="{71427941-58F7-4EEE-9DC2-464400671D5E}" presName="last" presStyleCnt="0"/>
      <dgm:spPr/>
    </dgm:pt>
    <dgm:pt modelId="{5C57B106-0F68-486E-B9C4-BE23B20D3EB0}" type="pres">
      <dgm:prSet presAssocID="{71427941-58F7-4EEE-9DC2-464400671D5E}" presName="circleTx" presStyleLbl="node1" presStyleIdx="18" presStyleCnt="19"/>
      <dgm:spPr/>
    </dgm:pt>
    <dgm:pt modelId="{3E4AD5F4-68F5-4531-BD14-7914862C4B32}" type="pres">
      <dgm:prSet presAssocID="{71427941-58F7-4EEE-9DC2-464400671D5E}" presName="spN" presStyleCnt="0"/>
      <dgm:spPr/>
    </dgm:pt>
  </dgm:ptLst>
  <dgm:cxnLst>
    <dgm:cxn modelId="{F5D0C709-2782-4EF8-AAB1-46239354F995}" srcId="{C7B67B4A-4520-486F-90F4-B0928B9A4844}" destId="{D63AC2E6-298A-45B7-ABEA-9F14853CFBC4}" srcOrd="0" destOrd="0" parTransId="{8D83CE92-C7AD-4C87-8E06-C2FFA58DC345}" sibTransId="{A3D48B89-A3D3-4D84-A24A-C034E94BC526}"/>
    <dgm:cxn modelId="{582DBC13-C93E-4D20-A16D-318F59E8D741}" type="presOf" srcId="{5A9A4D66-58C1-4282-9A66-9A4EA5549AC9}" destId="{FD45EE1D-0FEA-4E3A-A045-5E94B54C4EF8}" srcOrd="0" destOrd="0" presId="urn:microsoft.com/office/officeart/2009/3/layout/RandomtoResultProcess"/>
    <dgm:cxn modelId="{4C54AE18-B4A8-48E6-BDF3-1744CEC5581D}" srcId="{BD563D60-69B7-48C1-9B75-4602123D04B5}" destId="{FC2425F2-7A44-44F4-B2FD-0CD2752B6CAF}" srcOrd="1" destOrd="0" parTransId="{030C97C8-6790-4323-A938-9D87DEEB7204}" sibTransId="{63BC3379-D10B-405D-90E1-728AEA641BF1}"/>
    <dgm:cxn modelId="{126AC619-4278-4526-9186-43E93F9B0F74}" type="presOf" srcId="{C7B67B4A-4520-486F-90F4-B0928B9A4844}" destId="{ACD1439E-CBB9-4A03-9D66-1F607B1977B6}" srcOrd="0" destOrd="0" presId="urn:microsoft.com/office/officeart/2009/3/layout/RandomtoResultProcess"/>
    <dgm:cxn modelId="{785AE336-E14E-4D00-B7BF-37C6FAE4E0AC}" srcId="{BD563D60-69B7-48C1-9B75-4602123D04B5}" destId="{1C0B7223-E2BC-4FE8-B31D-CE16F6064F08}" srcOrd="4" destOrd="0" parTransId="{18B62233-97A8-4A6B-8D72-DCDA5C78FDE9}" sibTransId="{6B253ED8-AF5A-4FB2-B92D-DD199F4EE7F4}"/>
    <dgm:cxn modelId="{7F4B1939-D032-47F2-89BA-007063D6BFE9}" srcId="{FC2425F2-7A44-44F4-B2FD-0CD2752B6CAF}" destId="{5DB6D0FE-5031-4F07-81EE-FB5B92C4CFB7}" srcOrd="0" destOrd="0" parTransId="{18FB58B5-67D2-4DE8-828D-3EBCE63EED9E}" sibTransId="{9897F215-8354-4A2B-8845-D7153086D3F6}"/>
    <dgm:cxn modelId="{FB44BC3D-D99C-46D6-A2B2-37F9692EC9B4}" type="presOf" srcId="{5DB6D0FE-5031-4F07-81EE-FB5B92C4CFB7}" destId="{608FB1E5-1C02-4875-886D-562150FC837F}" srcOrd="0" destOrd="0" presId="urn:microsoft.com/office/officeart/2009/3/layout/RandomtoResultProcess"/>
    <dgm:cxn modelId="{82ED295F-C97B-4CF2-9DF7-06FB42EFAB24}" srcId="{1C0B7223-E2BC-4FE8-B31D-CE16F6064F08}" destId="{5A9A4D66-58C1-4282-9A66-9A4EA5549AC9}" srcOrd="0" destOrd="0" parTransId="{12B851A2-93AD-444A-8902-181178BB5DC0}" sibTransId="{8DC19303-4297-4190-8223-C15722F5C4CF}"/>
    <dgm:cxn modelId="{FDFB1D49-7B6E-4657-8986-E1D9AC3FBF20}" srcId="{BD563D60-69B7-48C1-9B75-4602123D04B5}" destId="{71427941-58F7-4EEE-9DC2-464400671D5E}" srcOrd="6" destOrd="0" parTransId="{70972033-F960-40BC-A5BF-3E7936F007F6}" sibTransId="{948C9302-3AA0-408E-8852-8D52CD7F4347}"/>
    <dgm:cxn modelId="{24BBDC69-6B7C-46BE-BD3A-57026D54343C}" type="presOf" srcId="{FAFF10FB-99ED-4F0C-800B-70C91CCC5AA9}" destId="{222458F3-D787-4250-A2F9-84AEE00A8AA2}" srcOrd="0" destOrd="0" presId="urn:microsoft.com/office/officeart/2009/3/layout/RandomtoResultProcess"/>
    <dgm:cxn modelId="{3B2FCB6D-EC96-4919-B554-7B473E0ADF05}" type="presOf" srcId="{E6F18A19-AD41-4275-8195-C6B27F28E4F6}" destId="{CFB6FFF4-C3B1-4620-B0F3-591249BAC70D}" srcOrd="0" destOrd="0" presId="urn:microsoft.com/office/officeart/2009/3/layout/RandomtoResultProcess"/>
    <dgm:cxn modelId="{38B49675-5662-4019-93E3-75219B86ACED}" type="presOf" srcId="{BD563D60-69B7-48C1-9B75-4602123D04B5}" destId="{649824AD-6561-461E-BADB-2014C81FB392}" srcOrd="0" destOrd="0" presId="urn:microsoft.com/office/officeart/2009/3/layout/RandomtoResultProcess"/>
    <dgm:cxn modelId="{DA289588-EF00-4FF3-BB9C-6564AFFAD1D4}" srcId="{C7B67B4A-4520-486F-90F4-B0928B9A4844}" destId="{041CAFAD-8E1A-4AD9-85FF-6EAC2564EE12}" srcOrd="1" destOrd="0" parTransId="{32262573-A471-4CC8-BAFA-8A0004D8D1C3}" sibTransId="{2B5DC9F6-9438-4A8A-8A5F-657717EA0F9F}"/>
    <dgm:cxn modelId="{782BED91-2AD9-4D03-A0E7-B662806D64E9}" type="presOf" srcId="{1C0B7223-E2BC-4FE8-B31D-CE16F6064F08}" destId="{51D86878-FAE0-4B91-8F87-44A3E1DFE9B2}" srcOrd="0" destOrd="0" presId="urn:microsoft.com/office/officeart/2009/3/layout/RandomtoResultProcess"/>
    <dgm:cxn modelId="{BEA2F894-B974-4240-B539-EB19EC03724F}" srcId="{8B4645DB-598D-4EF8-B496-D703407DFF5D}" destId="{9F865153-E76C-43CA-AD6E-D41F4D670586}" srcOrd="0" destOrd="0" parTransId="{80361AB1-DC7E-4B5E-9715-4CB37100EE0B}" sibTransId="{D488A261-0C40-4E22-8136-C2CA7AF78A98}"/>
    <dgm:cxn modelId="{AA16BB99-1168-431F-8B58-6987698C9AAA}" type="presOf" srcId="{D63AC2E6-298A-45B7-ABEA-9F14853CFBC4}" destId="{7286C81A-E547-49D4-A7CC-DF9864091126}" srcOrd="0" destOrd="0" presId="urn:microsoft.com/office/officeart/2009/3/layout/RandomtoResultProcess"/>
    <dgm:cxn modelId="{C906079A-2DA3-461C-9F31-C9F05E2F86E8}" srcId="{BD563D60-69B7-48C1-9B75-4602123D04B5}" destId="{FAFF10FB-99ED-4F0C-800B-70C91CCC5AA9}" srcOrd="5" destOrd="0" parTransId="{C5F57525-6AF9-437B-84FC-3FB01D3012F1}" sibTransId="{2E62437C-E524-46C6-87C6-B80D746F814B}"/>
    <dgm:cxn modelId="{BA666B9E-AEB6-429A-B614-A3A6ECB1F62E}" type="presOf" srcId="{9F865153-E76C-43CA-AD6E-D41F4D670586}" destId="{3845B668-850C-4E6F-9FAB-D790B7C03445}" srcOrd="0" destOrd="0" presId="urn:microsoft.com/office/officeart/2009/3/layout/RandomtoResultProcess"/>
    <dgm:cxn modelId="{30104FA1-1DF9-4781-9BAB-CFA1264257FB}" srcId="{BD563D60-69B7-48C1-9B75-4602123D04B5}" destId="{E6F18A19-AD41-4275-8195-C6B27F28E4F6}" srcOrd="0" destOrd="0" parTransId="{3CC6F1EF-227C-4C73-85F5-CC81137F4BB7}" sibTransId="{A5366C1C-5767-4DC9-9762-6F1AAC5929C9}"/>
    <dgm:cxn modelId="{DC19DDA1-8951-4BBF-9FAB-B1464A43E519}" type="presOf" srcId="{041CAFAD-8E1A-4AD9-85FF-6EAC2564EE12}" destId="{7286C81A-E547-49D4-A7CC-DF9864091126}" srcOrd="0" destOrd="1" presId="urn:microsoft.com/office/officeart/2009/3/layout/RandomtoResultProcess"/>
    <dgm:cxn modelId="{F04AB4AC-56D6-4841-964C-59F8148AEF0B}" type="presOf" srcId="{8B4645DB-598D-4EF8-B496-D703407DFF5D}" destId="{D552A141-7B79-4FDB-A0D4-6AC11E5C2667}" srcOrd="0" destOrd="0" presId="urn:microsoft.com/office/officeart/2009/3/layout/RandomtoResultProcess"/>
    <dgm:cxn modelId="{71040FB2-B04F-434F-81D5-2E1ED05E32E6}" srcId="{E6F18A19-AD41-4275-8195-C6B27F28E4F6}" destId="{A8369927-D16F-4662-90D3-0FC471ECDA84}" srcOrd="0" destOrd="0" parTransId="{89C01BF0-4916-4584-9EC7-1AAB34D45E7C}" sibTransId="{AABBE47F-F38D-441F-A99F-807D000A2787}"/>
    <dgm:cxn modelId="{D19162B2-98FA-4A1D-A5A6-727DF418CFAD}" type="presOf" srcId="{A8369927-D16F-4662-90D3-0FC471ECDA84}" destId="{F8044E71-4A44-4F6B-9715-88E87E663B30}" srcOrd="0" destOrd="0" presId="urn:microsoft.com/office/officeart/2009/3/layout/RandomtoResultProcess"/>
    <dgm:cxn modelId="{7BD7B0B5-26BD-4DCB-BAB6-0F5FA3135396}" type="presOf" srcId="{FC2425F2-7A44-44F4-B2FD-0CD2752B6CAF}" destId="{2B6C1380-495C-4C3F-A87B-C81B0F58F17C}" srcOrd="0" destOrd="0" presId="urn:microsoft.com/office/officeart/2009/3/layout/RandomtoResultProcess"/>
    <dgm:cxn modelId="{498695CA-626C-461F-814B-E0DFE5E109DF}" srcId="{BD563D60-69B7-48C1-9B75-4602123D04B5}" destId="{8B4645DB-598D-4EF8-B496-D703407DFF5D}" srcOrd="2" destOrd="0" parTransId="{E8EB0EC4-A4CE-4841-A4F2-9C463FBFDD57}" sibTransId="{26B44A80-5C10-47DF-BBC6-9FEE4FB82C63}"/>
    <dgm:cxn modelId="{E787B5CB-4AEE-40B5-9AF9-B32AA4F0B7AE}" type="presOf" srcId="{71427941-58F7-4EEE-9DC2-464400671D5E}" destId="{5C57B106-0F68-486E-B9C4-BE23B20D3EB0}" srcOrd="0" destOrd="0" presId="urn:microsoft.com/office/officeart/2009/3/layout/RandomtoResultProcess"/>
    <dgm:cxn modelId="{91055DCC-5FE0-4577-8A3F-1F2427344A2B}" srcId="{BD563D60-69B7-48C1-9B75-4602123D04B5}" destId="{C7B67B4A-4520-486F-90F4-B0928B9A4844}" srcOrd="3" destOrd="0" parTransId="{098BE4B8-2516-4CE5-8AD5-68616BE6F1CD}" sibTransId="{0EBC8B56-A2D2-44EC-A5ED-70C827A9785B}"/>
    <dgm:cxn modelId="{50412781-5622-43D7-8B20-0DD7221FB7F7}" type="presParOf" srcId="{649824AD-6561-461E-BADB-2014C81FB392}" destId="{235F4EE4-C0CD-4697-B7F0-1724100546E2}" srcOrd="0" destOrd="0" presId="urn:microsoft.com/office/officeart/2009/3/layout/RandomtoResultProcess"/>
    <dgm:cxn modelId="{74B6D24A-EDDB-4E2D-84CE-7A2BC47ADE55}" type="presParOf" srcId="{235F4EE4-C0CD-4697-B7F0-1724100546E2}" destId="{CFB6FFF4-C3B1-4620-B0F3-591249BAC70D}" srcOrd="0" destOrd="0" presId="urn:microsoft.com/office/officeart/2009/3/layout/RandomtoResultProcess"/>
    <dgm:cxn modelId="{2EF171F8-5FCE-423A-B57E-DF29D6B2C8C5}" type="presParOf" srcId="{235F4EE4-C0CD-4697-B7F0-1724100546E2}" destId="{F8044E71-4A44-4F6B-9715-88E87E663B30}" srcOrd="1" destOrd="0" presId="urn:microsoft.com/office/officeart/2009/3/layout/RandomtoResultProcess"/>
    <dgm:cxn modelId="{59E063F5-56DF-42BE-8608-2755E0A0729E}" type="presParOf" srcId="{235F4EE4-C0CD-4697-B7F0-1724100546E2}" destId="{0D867A4E-F6AF-45F7-9C5A-427C1E837ED2}" srcOrd="2" destOrd="0" presId="urn:microsoft.com/office/officeart/2009/3/layout/RandomtoResultProcess"/>
    <dgm:cxn modelId="{ECF2B679-C814-444D-9E23-95C08A8716FC}" type="presParOf" srcId="{235F4EE4-C0CD-4697-B7F0-1724100546E2}" destId="{94FA3584-ED36-480B-B5D2-C5C4E7798FC4}" srcOrd="3" destOrd="0" presId="urn:microsoft.com/office/officeart/2009/3/layout/RandomtoResultProcess"/>
    <dgm:cxn modelId="{796E3390-5D2E-46C2-B898-396CEC8B2DBF}" type="presParOf" srcId="{235F4EE4-C0CD-4697-B7F0-1724100546E2}" destId="{2447CC17-4695-4ACC-AE2D-20FAC378B6F8}" srcOrd="4" destOrd="0" presId="urn:microsoft.com/office/officeart/2009/3/layout/RandomtoResultProcess"/>
    <dgm:cxn modelId="{44956277-00FA-41C4-92A5-5ED9EE38C123}" type="presParOf" srcId="{235F4EE4-C0CD-4697-B7F0-1724100546E2}" destId="{702D72FE-32DC-4AB7-89DC-8DF988E6CA05}" srcOrd="5" destOrd="0" presId="urn:microsoft.com/office/officeart/2009/3/layout/RandomtoResultProcess"/>
    <dgm:cxn modelId="{E441A10A-38EF-4822-A998-718F1A80F72A}" type="presParOf" srcId="{235F4EE4-C0CD-4697-B7F0-1724100546E2}" destId="{6B340A0D-76DE-44F2-A8DB-431DE6CC110E}" srcOrd="6" destOrd="0" presId="urn:microsoft.com/office/officeart/2009/3/layout/RandomtoResultProcess"/>
    <dgm:cxn modelId="{62595D9D-D68C-4927-903A-6E887F985F47}" type="presParOf" srcId="{235F4EE4-C0CD-4697-B7F0-1724100546E2}" destId="{7DA6E6C8-923C-43D8-A9CB-76DABD5ECE72}" srcOrd="7" destOrd="0" presId="urn:microsoft.com/office/officeart/2009/3/layout/RandomtoResultProcess"/>
    <dgm:cxn modelId="{A47308E8-1B46-403B-AD7D-C1098E7CFB10}" type="presParOf" srcId="{235F4EE4-C0CD-4697-B7F0-1724100546E2}" destId="{A1F3EE40-BE98-49FC-8A13-34169132A98D}" srcOrd="8" destOrd="0" presId="urn:microsoft.com/office/officeart/2009/3/layout/RandomtoResultProcess"/>
    <dgm:cxn modelId="{C8F4742C-0CC6-42ED-9504-BF3772183DB4}" type="presParOf" srcId="{235F4EE4-C0CD-4697-B7F0-1724100546E2}" destId="{8CAE9800-CCFC-4386-B6AC-45BB2CB9B970}" srcOrd="9" destOrd="0" presId="urn:microsoft.com/office/officeart/2009/3/layout/RandomtoResultProcess"/>
    <dgm:cxn modelId="{BDBA33B4-3478-4451-B455-00883167CEA3}" type="presParOf" srcId="{235F4EE4-C0CD-4697-B7F0-1724100546E2}" destId="{27ACAA4D-A84E-4296-9568-386B6F992EA7}" srcOrd="10" destOrd="0" presId="urn:microsoft.com/office/officeart/2009/3/layout/RandomtoResultProcess"/>
    <dgm:cxn modelId="{0A71834F-FE95-4F3A-B4D3-E34CCE1675FC}" type="presParOf" srcId="{235F4EE4-C0CD-4697-B7F0-1724100546E2}" destId="{39B87DAF-1FA6-4198-9321-8E70E9ABEA0C}" srcOrd="11" destOrd="0" presId="urn:microsoft.com/office/officeart/2009/3/layout/RandomtoResultProcess"/>
    <dgm:cxn modelId="{9BF39A36-6EFB-4775-9EC6-F31573E77B38}" type="presParOf" srcId="{235F4EE4-C0CD-4697-B7F0-1724100546E2}" destId="{D59B5A86-FC2F-4D7F-804A-50D48CEED916}" srcOrd="12" destOrd="0" presId="urn:microsoft.com/office/officeart/2009/3/layout/RandomtoResultProcess"/>
    <dgm:cxn modelId="{37467F56-730A-4F75-83C1-82D18CDC3532}" type="presParOf" srcId="{235F4EE4-C0CD-4697-B7F0-1724100546E2}" destId="{FB7E70C4-97C2-44C9-A675-E2DDEB10BAF6}" srcOrd="13" destOrd="0" presId="urn:microsoft.com/office/officeart/2009/3/layout/RandomtoResultProcess"/>
    <dgm:cxn modelId="{F5CF5945-7682-4DAB-B83A-8A878ED22499}" type="presParOf" srcId="{235F4EE4-C0CD-4697-B7F0-1724100546E2}" destId="{4DFD7102-9646-4B4F-9894-4661F8FD509A}" srcOrd="14" destOrd="0" presId="urn:microsoft.com/office/officeart/2009/3/layout/RandomtoResultProcess"/>
    <dgm:cxn modelId="{C9D3B30F-1383-443B-AE2E-1400B96123D0}" type="presParOf" srcId="{235F4EE4-C0CD-4697-B7F0-1724100546E2}" destId="{BBBB05F4-6EB8-46D1-9CE3-0793DAFB12C4}" srcOrd="15" destOrd="0" presId="urn:microsoft.com/office/officeart/2009/3/layout/RandomtoResultProcess"/>
    <dgm:cxn modelId="{8A279820-A1F9-4B55-8F4C-079FCBCFF232}" type="presParOf" srcId="{235F4EE4-C0CD-4697-B7F0-1724100546E2}" destId="{1CC395C0-A91C-4067-8037-7BA98DC77A09}" srcOrd="16" destOrd="0" presId="urn:microsoft.com/office/officeart/2009/3/layout/RandomtoResultProcess"/>
    <dgm:cxn modelId="{2A73CDC6-9B98-4170-883B-B4B9C75FA67A}" type="presParOf" srcId="{235F4EE4-C0CD-4697-B7F0-1724100546E2}" destId="{491184A8-6FF9-4E09-B981-97370773D8E9}" srcOrd="17" destOrd="0" presId="urn:microsoft.com/office/officeart/2009/3/layout/RandomtoResultProcess"/>
    <dgm:cxn modelId="{6E7122E8-5246-4C47-9271-72648F8F5AD0}" type="presParOf" srcId="{235F4EE4-C0CD-4697-B7F0-1724100546E2}" destId="{3D2369A2-A27C-44CC-AABE-FF55DAA451C6}" srcOrd="18" destOrd="0" presId="urn:microsoft.com/office/officeart/2009/3/layout/RandomtoResultProcess"/>
    <dgm:cxn modelId="{3A96985C-4F79-4E74-8CE6-CBDC9CF080B5}" type="presParOf" srcId="{235F4EE4-C0CD-4697-B7F0-1724100546E2}" destId="{713E1EBD-AFAF-475F-91B3-39D868C9E9DF}" srcOrd="19" destOrd="0" presId="urn:microsoft.com/office/officeart/2009/3/layout/RandomtoResultProcess"/>
    <dgm:cxn modelId="{BB4A0537-CBF4-4E57-88A7-6E78A4ABDF12}" type="presParOf" srcId="{649824AD-6561-461E-BADB-2014C81FB392}" destId="{C3B80617-E42F-436A-B816-A11B55F3D083}" srcOrd="1" destOrd="0" presId="urn:microsoft.com/office/officeart/2009/3/layout/RandomtoResultProcess"/>
    <dgm:cxn modelId="{D5B6993E-A692-46B1-BB5C-D8A78A083F7C}" type="presParOf" srcId="{C3B80617-E42F-436A-B816-A11B55F3D083}" destId="{F19BE34D-8E87-4370-9C0B-65015E62126B}" srcOrd="0" destOrd="0" presId="urn:microsoft.com/office/officeart/2009/3/layout/RandomtoResultProcess"/>
    <dgm:cxn modelId="{C418172D-4E40-4173-82BE-0F596D8B9C69}" type="presParOf" srcId="{C3B80617-E42F-436A-B816-A11B55F3D083}" destId="{CE3FB7FA-5CE8-4CEF-8A7F-44D72F4A917D}" srcOrd="1" destOrd="0" presId="urn:microsoft.com/office/officeart/2009/3/layout/RandomtoResultProcess"/>
    <dgm:cxn modelId="{3152DFB1-2C4B-4B95-A785-0AB0AFAAB46A}" type="presParOf" srcId="{649824AD-6561-461E-BADB-2014C81FB392}" destId="{62B3C890-C266-42C9-983E-23E50D77E645}" srcOrd="2" destOrd="0" presId="urn:microsoft.com/office/officeart/2009/3/layout/RandomtoResultProcess"/>
    <dgm:cxn modelId="{88F0B839-2E48-4859-AFB3-6D31D5074B4D}" type="presParOf" srcId="{62B3C890-C266-42C9-983E-23E50D77E645}" destId="{2B6C1380-495C-4C3F-A87B-C81B0F58F17C}" srcOrd="0" destOrd="0" presId="urn:microsoft.com/office/officeart/2009/3/layout/RandomtoResultProcess"/>
    <dgm:cxn modelId="{8FAD0430-08AF-4B1C-8550-95CADF111225}" type="presParOf" srcId="{62B3C890-C266-42C9-983E-23E50D77E645}" destId="{608FB1E5-1C02-4875-886D-562150FC837F}" srcOrd="1" destOrd="0" presId="urn:microsoft.com/office/officeart/2009/3/layout/RandomtoResultProcess"/>
    <dgm:cxn modelId="{5DF0AC4B-218B-4149-89F1-D4DFEA49BB08}" type="presParOf" srcId="{62B3C890-C266-42C9-983E-23E50D77E645}" destId="{41AEDA02-4866-4E7F-8B79-4AD34B624749}" srcOrd="2" destOrd="0" presId="urn:microsoft.com/office/officeart/2009/3/layout/RandomtoResultProcess"/>
    <dgm:cxn modelId="{8F45E33F-7E35-45E9-82BC-3FBBEF231D02}" type="presParOf" srcId="{649824AD-6561-461E-BADB-2014C81FB392}" destId="{70D77B96-38F1-4071-8AE7-8DE7FABBFE49}" srcOrd="3" destOrd="0" presId="urn:microsoft.com/office/officeart/2009/3/layout/RandomtoResultProcess"/>
    <dgm:cxn modelId="{96930A8A-A350-4F35-9A06-762B02F309F3}" type="presParOf" srcId="{70D77B96-38F1-4071-8AE7-8DE7FABBFE49}" destId="{A8DD977A-8538-4E8F-91C5-8FC5ADE93119}" srcOrd="0" destOrd="0" presId="urn:microsoft.com/office/officeart/2009/3/layout/RandomtoResultProcess"/>
    <dgm:cxn modelId="{F1CF4499-FB63-47E3-B8AA-020F699A7FA3}" type="presParOf" srcId="{70D77B96-38F1-4071-8AE7-8DE7FABBFE49}" destId="{DA714BA7-F54F-4F22-A6CF-335D2C537831}" srcOrd="1" destOrd="0" presId="urn:microsoft.com/office/officeart/2009/3/layout/RandomtoResultProcess"/>
    <dgm:cxn modelId="{E946450F-C724-48FD-B67F-62AB920FD89D}" type="presParOf" srcId="{649824AD-6561-461E-BADB-2014C81FB392}" destId="{1B9E5027-9539-4D13-881F-1E1E68D2C66E}" srcOrd="4" destOrd="0" presId="urn:microsoft.com/office/officeart/2009/3/layout/RandomtoResultProcess"/>
    <dgm:cxn modelId="{9C9DBFC1-6315-47E1-B066-BE1A3BCB4ECA}" type="presParOf" srcId="{1B9E5027-9539-4D13-881F-1E1E68D2C66E}" destId="{D552A141-7B79-4FDB-A0D4-6AC11E5C2667}" srcOrd="0" destOrd="0" presId="urn:microsoft.com/office/officeart/2009/3/layout/RandomtoResultProcess"/>
    <dgm:cxn modelId="{E67448B7-A01B-4D3F-B4E4-A7B4691E0A3B}" type="presParOf" srcId="{1B9E5027-9539-4D13-881F-1E1E68D2C66E}" destId="{3845B668-850C-4E6F-9FAB-D790B7C03445}" srcOrd="1" destOrd="0" presId="urn:microsoft.com/office/officeart/2009/3/layout/RandomtoResultProcess"/>
    <dgm:cxn modelId="{8900A889-BBFD-4AB3-AA12-9E8C6EFEC44A}" type="presParOf" srcId="{1B9E5027-9539-4D13-881F-1E1E68D2C66E}" destId="{878DFAD9-4CA2-45E2-AC71-2AD373B23C85}" srcOrd="2" destOrd="0" presId="urn:microsoft.com/office/officeart/2009/3/layout/RandomtoResultProcess"/>
    <dgm:cxn modelId="{7835DF39-CDFE-44C9-BC43-C2654B725DD6}" type="presParOf" srcId="{649824AD-6561-461E-BADB-2014C81FB392}" destId="{6E8FC371-8BAE-402C-AE56-8B604548B152}" srcOrd="5" destOrd="0" presId="urn:microsoft.com/office/officeart/2009/3/layout/RandomtoResultProcess"/>
    <dgm:cxn modelId="{CEAB99A2-72A6-4738-A1D9-DBB9FE5EF896}" type="presParOf" srcId="{6E8FC371-8BAE-402C-AE56-8B604548B152}" destId="{18209C58-1519-4327-92F8-DDB54F804FFF}" srcOrd="0" destOrd="0" presId="urn:microsoft.com/office/officeart/2009/3/layout/RandomtoResultProcess"/>
    <dgm:cxn modelId="{05E08624-0B2E-46DF-9B3C-3703212B2D3E}" type="presParOf" srcId="{6E8FC371-8BAE-402C-AE56-8B604548B152}" destId="{9425FDEC-B2FA-4FD1-AA77-7D2040AACCAC}" srcOrd="1" destOrd="0" presId="urn:microsoft.com/office/officeart/2009/3/layout/RandomtoResultProcess"/>
    <dgm:cxn modelId="{0D1C0CCE-6471-4B32-B1D5-003005F22CDA}" type="presParOf" srcId="{649824AD-6561-461E-BADB-2014C81FB392}" destId="{897D738A-55AC-4B84-90BA-6741A40A742F}" srcOrd="6" destOrd="0" presId="urn:microsoft.com/office/officeart/2009/3/layout/RandomtoResultProcess"/>
    <dgm:cxn modelId="{8F5C9379-B445-4415-B57E-384F3EBDA679}" type="presParOf" srcId="{897D738A-55AC-4B84-90BA-6741A40A742F}" destId="{ACD1439E-CBB9-4A03-9D66-1F607B1977B6}" srcOrd="0" destOrd="0" presId="urn:microsoft.com/office/officeart/2009/3/layout/RandomtoResultProcess"/>
    <dgm:cxn modelId="{CDD29056-BDA9-4A8E-A38D-B358CA15B30A}" type="presParOf" srcId="{897D738A-55AC-4B84-90BA-6741A40A742F}" destId="{7286C81A-E547-49D4-A7CC-DF9864091126}" srcOrd="1" destOrd="0" presId="urn:microsoft.com/office/officeart/2009/3/layout/RandomtoResultProcess"/>
    <dgm:cxn modelId="{E9235320-C88D-491F-8CDB-4056D0BD278E}" type="presParOf" srcId="{897D738A-55AC-4B84-90BA-6741A40A742F}" destId="{897DDE62-EE1B-4E28-B4BE-894FD304B024}" srcOrd="2" destOrd="0" presId="urn:microsoft.com/office/officeart/2009/3/layout/RandomtoResultProcess"/>
    <dgm:cxn modelId="{F28984F8-0984-4FE5-B797-A295D8BD52A4}" type="presParOf" srcId="{649824AD-6561-461E-BADB-2014C81FB392}" destId="{D1E5A36A-5B30-4995-830D-9E7F2EE7917A}" srcOrd="7" destOrd="0" presId="urn:microsoft.com/office/officeart/2009/3/layout/RandomtoResultProcess"/>
    <dgm:cxn modelId="{4FB44D04-28F0-4CE2-AA71-42E75A28F852}" type="presParOf" srcId="{D1E5A36A-5B30-4995-830D-9E7F2EE7917A}" destId="{DE3FB428-35B5-4638-B7D5-0958DA410461}" srcOrd="0" destOrd="0" presId="urn:microsoft.com/office/officeart/2009/3/layout/RandomtoResultProcess"/>
    <dgm:cxn modelId="{4E086A3D-991F-4DC5-B441-1AC15A481652}" type="presParOf" srcId="{D1E5A36A-5B30-4995-830D-9E7F2EE7917A}" destId="{CFCBE1E3-0B67-4976-9F84-CFEAACC404B3}" srcOrd="1" destOrd="0" presId="urn:microsoft.com/office/officeart/2009/3/layout/RandomtoResultProcess"/>
    <dgm:cxn modelId="{84A599F7-1791-4BA9-B11D-9BFC2D55DB9B}" type="presParOf" srcId="{649824AD-6561-461E-BADB-2014C81FB392}" destId="{E1CF3652-0482-4DF9-B330-D6DA71E2C30E}" srcOrd="8" destOrd="0" presId="urn:microsoft.com/office/officeart/2009/3/layout/RandomtoResultProcess"/>
    <dgm:cxn modelId="{69EED02C-396A-4F17-B50D-EB514CF679A5}" type="presParOf" srcId="{E1CF3652-0482-4DF9-B330-D6DA71E2C30E}" destId="{51D86878-FAE0-4B91-8F87-44A3E1DFE9B2}" srcOrd="0" destOrd="0" presId="urn:microsoft.com/office/officeart/2009/3/layout/RandomtoResultProcess"/>
    <dgm:cxn modelId="{7C89D0E5-D6C0-41B9-B539-EC065BCA9FB4}" type="presParOf" srcId="{E1CF3652-0482-4DF9-B330-D6DA71E2C30E}" destId="{FD45EE1D-0FEA-4E3A-A045-5E94B54C4EF8}" srcOrd="1" destOrd="0" presId="urn:microsoft.com/office/officeart/2009/3/layout/RandomtoResultProcess"/>
    <dgm:cxn modelId="{D9B07C92-A464-4E1F-A39A-C29095C0D2E0}" type="presParOf" srcId="{E1CF3652-0482-4DF9-B330-D6DA71E2C30E}" destId="{246A69A1-412B-48E9-8990-1EC2BBA040DD}" srcOrd="2" destOrd="0" presId="urn:microsoft.com/office/officeart/2009/3/layout/RandomtoResultProcess"/>
    <dgm:cxn modelId="{EA7D3BB8-B690-48D0-BC78-EB17ED6A41C4}" type="presParOf" srcId="{649824AD-6561-461E-BADB-2014C81FB392}" destId="{E5D94474-AEB0-4762-B898-C4E35071A971}" srcOrd="9" destOrd="0" presId="urn:microsoft.com/office/officeart/2009/3/layout/RandomtoResultProcess"/>
    <dgm:cxn modelId="{31923202-ABEF-403E-8986-6DF2BC7BF7D8}" type="presParOf" srcId="{E5D94474-AEB0-4762-B898-C4E35071A971}" destId="{7DB107B4-BF30-4224-9B4A-57BEB83F511E}" srcOrd="0" destOrd="0" presId="urn:microsoft.com/office/officeart/2009/3/layout/RandomtoResultProcess"/>
    <dgm:cxn modelId="{075F0E86-515B-4205-A8BC-E29AC0428AC5}" type="presParOf" srcId="{E5D94474-AEB0-4762-B898-C4E35071A971}" destId="{62984133-2DF5-493D-A41D-06525F02774E}" srcOrd="1" destOrd="0" presId="urn:microsoft.com/office/officeart/2009/3/layout/RandomtoResultProcess"/>
    <dgm:cxn modelId="{88C301AA-B6E5-4AED-9907-1A22BC4A5181}" type="presParOf" srcId="{649824AD-6561-461E-BADB-2014C81FB392}" destId="{E60AA787-C854-4425-BD0B-CE2A83F2E222}" srcOrd="10" destOrd="0" presId="urn:microsoft.com/office/officeart/2009/3/layout/RandomtoResultProcess"/>
    <dgm:cxn modelId="{035348FC-6034-4B42-B9F2-47550C8032FC}" type="presParOf" srcId="{E60AA787-C854-4425-BD0B-CE2A83F2E222}" destId="{222458F3-D787-4250-A2F9-84AEE00A8AA2}" srcOrd="0" destOrd="0" presId="urn:microsoft.com/office/officeart/2009/3/layout/RandomtoResultProcess"/>
    <dgm:cxn modelId="{BBA3EC2F-31C5-4F42-B2EF-6D64FC5FC12F}" type="presParOf" srcId="{E60AA787-C854-4425-BD0B-CE2A83F2E222}" destId="{DF2E4FD8-DD59-434F-82AD-5A3B423DDAFB}" srcOrd="1" destOrd="0" presId="urn:microsoft.com/office/officeart/2009/3/layout/RandomtoResultProcess"/>
    <dgm:cxn modelId="{11899F06-A0CB-4F87-AB30-EC3B01FF193F}" type="presParOf" srcId="{649824AD-6561-461E-BADB-2014C81FB392}" destId="{3B38BE87-F9A4-434F-948B-E21DFEE07326}" srcOrd="11" destOrd="0" presId="urn:microsoft.com/office/officeart/2009/3/layout/RandomtoResultProcess"/>
    <dgm:cxn modelId="{C1042565-DDB3-444E-A7F6-0BD751E8F762}" type="presParOf" srcId="{3B38BE87-F9A4-434F-948B-E21DFEE07326}" destId="{4E3E3A56-7E8B-4CE7-8B54-5E12913D8142}" srcOrd="0" destOrd="0" presId="urn:microsoft.com/office/officeart/2009/3/layout/RandomtoResultProcess"/>
    <dgm:cxn modelId="{A18C148A-FFFC-4006-95E2-4B68C0D5DD87}" type="presParOf" srcId="{3B38BE87-F9A4-434F-948B-E21DFEE07326}" destId="{CA1E1A9A-AAAE-4ABE-8A63-E911608F3134}" srcOrd="1" destOrd="0" presId="urn:microsoft.com/office/officeart/2009/3/layout/RandomtoResultProcess"/>
    <dgm:cxn modelId="{EDBC0850-C00C-4340-BA36-A8D68DCE9151}" type="presParOf" srcId="{649824AD-6561-461E-BADB-2014C81FB392}" destId="{3F90A6C7-24D9-4F65-9534-46664BB74109}" srcOrd="12" destOrd="0" presId="urn:microsoft.com/office/officeart/2009/3/layout/RandomtoResultProcess"/>
    <dgm:cxn modelId="{A5E55423-309E-4B69-846D-C8B9FC1BA0F9}" type="presParOf" srcId="{3F90A6C7-24D9-4F65-9534-46664BB74109}" destId="{5C57B106-0F68-486E-B9C4-BE23B20D3EB0}" srcOrd="0" destOrd="0" presId="urn:microsoft.com/office/officeart/2009/3/layout/RandomtoResultProcess"/>
    <dgm:cxn modelId="{27912F6F-9268-43BE-BAF8-4173C20EED59}" type="presParOf" srcId="{3F90A6C7-24D9-4F65-9534-46664BB74109}" destId="{3E4AD5F4-68F5-4531-BD14-7914862C4B32}" srcOrd="1" destOrd="0" presId="urn:microsoft.com/office/officeart/2009/3/layout/RandomtoResultProcess"/>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61002F4-9013-41EF-BDF7-C3FFD82C79A7}" type="doc">
      <dgm:prSet loTypeId="urn:microsoft.com/office/officeart/2008/layout/LinedList" loCatId="hierarchy" qsTypeId="urn:microsoft.com/office/officeart/2005/8/quickstyle/simple1" qsCatId="simple" csTypeId="urn:microsoft.com/office/officeart/2005/8/colors/accent1_2" csCatId="accent1" phldr="1"/>
      <dgm:spPr/>
      <dgm:t>
        <a:bodyPr/>
        <a:lstStyle/>
        <a:p>
          <a:endParaRPr lang="en-SG"/>
        </a:p>
      </dgm:t>
    </dgm:pt>
    <dgm:pt modelId="{A878743B-8713-48B6-A023-5E7CD9242298}">
      <dgm:prSet phldrT="[Text]">
        <dgm:style>
          <a:lnRef idx="1">
            <a:schemeClr val="accent3"/>
          </a:lnRef>
          <a:fillRef idx="2">
            <a:schemeClr val="accent3"/>
          </a:fillRef>
          <a:effectRef idx="1">
            <a:schemeClr val="accent3"/>
          </a:effectRef>
          <a:fontRef idx="minor">
            <a:schemeClr val="dk1"/>
          </a:fontRef>
        </dgm:style>
      </dgm:prSet>
      <dgm:spPr/>
      <dgm:t>
        <a:bodyPr/>
        <a:lstStyle/>
        <a:p>
          <a:pPr algn="ctr"/>
          <a:r>
            <a:rPr lang="en-SG" dirty="0"/>
            <a:t>Machine learning Models</a:t>
          </a:r>
        </a:p>
      </dgm:t>
    </dgm:pt>
    <dgm:pt modelId="{F570B34F-55DC-42A9-B8D6-F25A89C67C46}" type="parTrans" cxnId="{D7B5C6AC-2A15-4E87-8F93-F658B0BC88DE}">
      <dgm:prSet/>
      <dgm:spPr/>
      <dgm:t>
        <a:bodyPr/>
        <a:lstStyle/>
        <a:p>
          <a:pPr algn="ctr"/>
          <a:endParaRPr lang="en-SG"/>
        </a:p>
      </dgm:t>
    </dgm:pt>
    <dgm:pt modelId="{77C73A39-D3CA-43B0-8280-0DEB86F356A8}" type="sibTrans" cxnId="{D7B5C6AC-2A15-4E87-8F93-F658B0BC88DE}">
      <dgm:prSet/>
      <dgm:spPr/>
      <dgm:t>
        <a:bodyPr/>
        <a:lstStyle/>
        <a:p>
          <a:pPr algn="ctr"/>
          <a:endParaRPr lang="en-SG"/>
        </a:p>
      </dgm:t>
    </dgm:pt>
    <dgm:pt modelId="{1AA0DC49-AF4B-4E7D-B61C-E1263B7AF778}">
      <dgm:prSet phldrT="[Text]">
        <dgm:style>
          <a:lnRef idx="1">
            <a:schemeClr val="accent3"/>
          </a:lnRef>
          <a:fillRef idx="2">
            <a:schemeClr val="accent3"/>
          </a:fillRef>
          <a:effectRef idx="1">
            <a:schemeClr val="accent3"/>
          </a:effectRef>
          <a:fontRef idx="minor">
            <a:schemeClr val="dk1"/>
          </a:fontRef>
        </dgm:style>
      </dgm:prSet>
      <dgm:spPr/>
      <dgm:t>
        <a:bodyPr/>
        <a:lstStyle/>
        <a:p>
          <a:pPr algn="ctr"/>
          <a:r>
            <a:rPr lang="en-SG" dirty="0"/>
            <a:t>Supervised</a:t>
          </a:r>
        </a:p>
      </dgm:t>
    </dgm:pt>
    <dgm:pt modelId="{58346BF9-3B8E-4796-A544-4CCBAA1E054F}" type="parTrans" cxnId="{7EA89756-0E82-4FF4-A70A-6E25DEED04F1}">
      <dgm:prSet/>
      <dgm:spPr/>
      <dgm:t>
        <a:bodyPr/>
        <a:lstStyle/>
        <a:p>
          <a:pPr algn="ctr"/>
          <a:endParaRPr lang="en-SG"/>
        </a:p>
      </dgm:t>
    </dgm:pt>
    <dgm:pt modelId="{F1B45C09-9236-4010-9A64-53EC4315A7CF}" type="sibTrans" cxnId="{7EA89756-0E82-4FF4-A70A-6E25DEED04F1}">
      <dgm:prSet/>
      <dgm:spPr/>
      <dgm:t>
        <a:bodyPr/>
        <a:lstStyle/>
        <a:p>
          <a:pPr algn="ctr"/>
          <a:endParaRPr lang="en-SG"/>
        </a:p>
      </dgm:t>
    </dgm:pt>
    <dgm:pt modelId="{F7D982CA-4FB2-421B-BE2F-4A580397545C}">
      <dgm:prSet phldrT="[Text]">
        <dgm:style>
          <a:lnRef idx="1">
            <a:schemeClr val="accent3"/>
          </a:lnRef>
          <a:fillRef idx="2">
            <a:schemeClr val="accent3"/>
          </a:fillRef>
          <a:effectRef idx="1">
            <a:schemeClr val="accent3"/>
          </a:effectRef>
          <a:fontRef idx="minor">
            <a:schemeClr val="dk1"/>
          </a:fontRef>
        </dgm:style>
      </dgm:prSet>
      <dgm:spPr/>
      <dgm:t>
        <a:bodyPr/>
        <a:lstStyle/>
        <a:p>
          <a:pPr algn="ctr"/>
          <a:r>
            <a:rPr lang="en-SG" dirty="0"/>
            <a:t>Unsupervised</a:t>
          </a:r>
        </a:p>
      </dgm:t>
    </dgm:pt>
    <dgm:pt modelId="{597FB18B-7BCC-4B10-B10A-E43D15BF13D4}" type="parTrans" cxnId="{228BB0DE-BEC4-4FF5-9645-2D071BD310A1}">
      <dgm:prSet/>
      <dgm:spPr/>
      <dgm:t>
        <a:bodyPr/>
        <a:lstStyle/>
        <a:p>
          <a:pPr algn="ctr"/>
          <a:endParaRPr lang="en-SG"/>
        </a:p>
      </dgm:t>
    </dgm:pt>
    <dgm:pt modelId="{FC37530C-F1F1-4653-AB2A-421E10E18852}" type="sibTrans" cxnId="{228BB0DE-BEC4-4FF5-9645-2D071BD310A1}">
      <dgm:prSet/>
      <dgm:spPr/>
      <dgm:t>
        <a:bodyPr/>
        <a:lstStyle/>
        <a:p>
          <a:pPr algn="ctr"/>
          <a:endParaRPr lang="en-SG"/>
        </a:p>
      </dgm:t>
    </dgm:pt>
    <dgm:pt modelId="{B695C848-8DC5-4E58-9E62-BA696E9089C7}">
      <dgm:prSet phldrT="[Text]">
        <dgm:style>
          <a:lnRef idx="1">
            <a:schemeClr val="accent3"/>
          </a:lnRef>
          <a:fillRef idx="2">
            <a:schemeClr val="accent3"/>
          </a:fillRef>
          <a:effectRef idx="1">
            <a:schemeClr val="accent3"/>
          </a:effectRef>
          <a:fontRef idx="minor">
            <a:schemeClr val="dk1"/>
          </a:fontRef>
        </dgm:style>
      </dgm:prSet>
      <dgm:spPr/>
      <dgm:t>
        <a:bodyPr/>
        <a:lstStyle/>
        <a:p>
          <a:pPr algn="ctr"/>
          <a:r>
            <a:rPr lang="en-SG" dirty="0"/>
            <a:t>Reinforcement learning</a:t>
          </a:r>
        </a:p>
      </dgm:t>
    </dgm:pt>
    <dgm:pt modelId="{C8F83F3F-91C5-426A-A037-0E9FCBD99AE0}" type="parTrans" cxnId="{7A41255D-104D-46EB-BADC-ADBF45578B88}">
      <dgm:prSet/>
      <dgm:spPr/>
      <dgm:t>
        <a:bodyPr/>
        <a:lstStyle/>
        <a:p>
          <a:pPr algn="ctr"/>
          <a:endParaRPr lang="en-SG"/>
        </a:p>
      </dgm:t>
    </dgm:pt>
    <dgm:pt modelId="{617F9521-5D86-4A27-8F5E-93DB07F6873A}" type="sibTrans" cxnId="{7A41255D-104D-46EB-BADC-ADBF45578B88}">
      <dgm:prSet/>
      <dgm:spPr/>
      <dgm:t>
        <a:bodyPr/>
        <a:lstStyle/>
        <a:p>
          <a:pPr algn="ctr"/>
          <a:endParaRPr lang="en-SG"/>
        </a:p>
      </dgm:t>
    </dgm:pt>
    <dgm:pt modelId="{3AD2797F-B073-4B55-808A-9F3D8A43116B}">
      <dgm:prSet phldrT="[Text]">
        <dgm:style>
          <a:lnRef idx="1">
            <a:schemeClr val="accent3"/>
          </a:lnRef>
          <a:fillRef idx="2">
            <a:schemeClr val="accent3"/>
          </a:fillRef>
          <a:effectRef idx="1">
            <a:schemeClr val="accent3"/>
          </a:effectRef>
          <a:fontRef idx="minor">
            <a:schemeClr val="dk1"/>
          </a:fontRef>
        </dgm:style>
      </dgm:prSet>
      <dgm:spPr/>
      <dgm:t>
        <a:bodyPr/>
        <a:lstStyle/>
        <a:p>
          <a:pPr algn="ctr"/>
          <a:r>
            <a:rPr lang="en-SG" dirty="0"/>
            <a:t>Target label available for the model to learn from</a:t>
          </a:r>
        </a:p>
      </dgm:t>
    </dgm:pt>
    <dgm:pt modelId="{5B46A750-D70E-4CC6-8097-C0A1173469D6}" type="parTrans" cxnId="{AE7E8F96-1D86-4340-9F5D-B21C97E081A5}">
      <dgm:prSet/>
      <dgm:spPr/>
      <dgm:t>
        <a:bodyPr/>
        <a:lstStyle/>
        <a:p>
          <a:pPr algn="ctr"/>
          <a:endParaRPr lang="en-SG"/>
        </a:p>
      </dgm:t>
    </dgm:pt>
    <dgm:pt modelId="{930038EB-22CC-4B5C-9921-343019323D3F}" type="sibTrans" cxnId="{AE7E8F96-1D86-4340-9F5D-B21C97E081A5}">
      <dgm:prSet/>
      <dgm:spPr/>
      <dgm:t>
        <a:bodyPr/>
        <a:lstStyle/>
        <a:p>
          <a:pPr algn="ctr"/>
          <a:endParaRPr lang="en-SG"/>
        </a:p>
      </dgm:t>
    </dgm:pt>
    <dgm:pt modelId="{4447F985-4A82-4BDB-9583-3848C455633D}">
      <dgm:prSet phldrT="[Text]">
        <dgm:style>
          <a:lnRef idx="1">
            <a:schemeClr val="accent3"/>
          </a:lnRef>
          <a:fillRef idx="2">
            <a:schemeClr val="accent3"/>
          </a:fillRef>
          <a:effectRef idx="1">
            <a:schemeClr val="accent3"/>
          </a:effectRef>
          <a:fontRef idx="minor">
            <a:schemeClr val="dk1"/>
          </a:fontRef>
        </dgm:style>
      </dgm:prSet>
      <dgm:spPr/>
      <dgm:t>
        <a:bodyPr/>
        <a:lstStyle/>
        <a:p>
          <a:pPr algn="ctr"/>
          <a:r>
            <a:rPr lang="en-SG" dirty="0"/>
            <a:t>Model learns by evaluating the data pattern </a:t>
          </a:r>
        </a:p>
      </dgm:t>
    </dgm:pt>
    <dgm:pt modelId="{C4E8A223-3EA7-4808-9D01-E904068211E1}" type="parTrans" cxnId="{61B9FFB7-3C4F-4FB8-9E73-95F07864C09B}">
      <dgm:prSet/>
      <dgm:spPr/>
      <dgm:t>
        <a:bodyPr/>
        <a:lstStyle/>
        <a:p>
          <a:pPr algn="ctr"/>
          <a:endParaRPr lang="en-SG"/>
        </a:p>
      </dgm:t>
    </dgm:pt>
    <dgm:pt modelId="{305C9BFD-84E1-4CB9-A878-779422CFEAFA}" type="sibTrans" cxnId="{61B9FFB7-3C4F-4FB8-9E73-95F07864C09B}">
      <dgm:prSet/>
      <dgm:spPr/>
      <dgm:t>
        <a:bodyPr/>
        <a:lstStyle/>
        <a:p>
          <a:pPr algn="ctr"/>
          <a:endParaRPr lang="en-SG"/>
        </a:p>
      </dgm:t>
    </dgm:pt>
    <dgm:pt modelId="{A65481D0-1C12-41D2-AC59-A458B233DD0D}">
      <dgm:prSet phldrT="[Text]">
        <dgm:style>
          <a:lnRef idx="1">
            <a:schemeClr val="accent3"/>
          </a:lnRef>
          <a:fillRef idx="2">
            <a:schemeClr val="accent3"/>
          </a:fillRef>
          <a:effectRef idx="1">
            <a:schemeClr val="accent3"/>
          </a:effectRef>
          <a:fontRef idx="minor">
            <a:schemeClr val="dk1"/>
          </a:fontRef>
        </dgm:style>
      </dgm:prSet>
      <dgm:spPr/>
      <dgm:t>
        <a:bodyPr/>
        <a:lstStyle/>
        <a:p>
          <a:pPr algn="ctr"/>
          <a:r>
            <a:rPr lang="en-SG" dirty="0"/>
            <a:t>Learn from environment on the basis of rewarding strategy</a:t>
          </a:r>
        </a:p>
      </dgm:t>
    </dgm:pt>
    <dgm:pt modelId="{69A37CB3-5021-48A1-875D-95A8E97EBCC0}" type="parTrans" cxnId="{C8EFED84-FD5D-40DD-A324-7125ECDF96EF}">
      <dgm:prSet/>
      <dgm:spPr/>
      <dgm:t>
        <a:bodyPr/>
        <a:lstStyle/>
        <a:p>
          <a:pPr algn="ctr"/>
          <a:endParaRPr lang="en-SG"/>
        </a:p>
      </dgm:t>
    </dgm:pt>
    <dgm:pt modelId="{F8C6E7AA-7CA5-49CB-9FD3-1B1AE8826223}" type="sibTrans" cxnId="{C8EFED84-FD5D-40DD-A324-7125ECDF96EF}">
      <dgm:prSet/>
      <dgm:spPr/>
      <dgm:t>
        <a:bodyPr/>
        <a:lstStyle/>
        <a:p>
          <a:pPr algn="ctr"/>
          <a:endParaRPr lang="en-SG"/>
        </a:p>
      </dgm:t>
    </dgm:pt>
    <dgm:pt modelId="{B5112C8D-0EB1-4ED7-A6A5-A9A5529EB11A}">
      <dgm:prSet phldrT="[Text]">
        <dgm:style>
          <a:lnRef idx="1">
            <a:schemeClr val="accent3"/>
          </a:lnRef>
          <a:fillRef idx="2">
            <a:schemeClr val="accent3"/>
          </a:fillRef>
          <a:effectRef idx="1">
            <a:schemeClr val="accent3"/>
          </a:effectRef>
          <a:fontRef idx="minor">
            <a:schemeClr val="dk1"/>
          </a:fontRef>
        </dgm:style>
      </dgm:prSet>
      <dgm:spPr/>
      <dgm:t>
        <a:bodyPr/>
        <a:lstStyle/>
        <a:p>
          <a:pPr algn="ctr"/>
          <a:r>
            <a:rPr lang="en-SG" dirty="0"/>
            <a:t>Require human intervention to label the data</a:t>
          </a:r>
        </a:p>
      </dgm:t>
    </dgm:pt>
    <dgm:pt modelId="{F27FF715-04DC-4676-BBF6-D1F7E5D0C4E7}" type="parTrans" cxnId="{6D044DE5-50BD-400F-9C27-414481A054A7}">
      <dgm:prSet/>
      <dgm:spPr/>
      <dgm:t>
        <a:bodyPr/>
        <a:lstStyle/>
        <a:p>
          <a:pPr algn="ctr"/>
          <a:endParaRPr lang="en-SG"/>
        </a:p>
      </dgm:t>
    </dgm:pt>
    <dgm:pt modelId="{D3936C76-A2DB-4D42-99A7-C68A21CCC042}" type="sibTrans" cxnId="{6D044DE5-50BD-400F-9C27-414481A054A7}">
      <dgm:prSet/>
      <dgm:spPr/>
      <dgm:t>
        <a:bodyPr/>
        <a:lstStyle/>
        <a:p>
          <a:pPr algn="ctr"/>
          <a:endParaRPr lang="en-SG"/>
        </a:p>
      </dgm:t>
    </dgm:pt>
    <dgm:pt modelId="{3BDC00FB-65CE-497C-9D83-7F092A8DF243}">
      <dgm:prSet phldrT="[Text]">
        <dgm:style>
          <a:lnRef idx="1">
            <a:schemeClr val="accent3"/>
          </a:lnRef>
          <a:fillRef idx="2">
            <a:schemeClr val="accent3"/>
          </a:fillRef>
          <a:effectRef idx="1">
            <a:schemeClr val="accent3"/>
          </a:effectRef>
          <a:fontRef idx="minor">
            <a:schemeClr val="dk1"/>
          </a:fontRef>
        </dgm:style>
      </dgm:prSet>
      <dgm:spPr/>
      <dgm:t>
        <a:bodyPr/>
        <a:lstStyle/>
        <a:p>
          <a:pPr algn="ctr"/>
          <a:r>
            <a:rPr lang="en-SG" dirty="0"/>
            <a:t>Require human intervention for validating output</a:t>
          </a:r>
        </a:p>
      </dgm:t>
    </dgm:pt>
    <dgm:pt modelId="{11F4F035-CCC8-46E1-A3E6-02E8822B82F7}" type="parTrans" cxnId="{A4810CA0-D5CF-493F-A947-5540A671E1D4}">
      <dgm:prSet/>
      <dgm:spPr/>
      <dgm:t>
        <a:bodyPr/>
        <a:lstStyle/>
        <a:p>
          <a:pPr algn="ctr"/>
          <a:endParaRPr lang="en-SG"/>
        </a:p>
      </dgm:t>
    </dgm:pt>
    <dgm:pt modelId="{67C53023-C258-47CE-A2EE-20B9FB180323}" type="sibTrans" cxnId="{A4810CA0-D5CF-493F-A947-5540A671E1D4}">
      <dgm:prSet/>
      <dgm:spPr/>
      <dgm:t>
        <a:bodyPr/>
        <a:lstStyle/>
        <a:p>
          <a:pPr algn="ctr"/>
          <a:endParaRPr lang="en-SG"/>
        </a:p>
      </dgm:t>
    </dgm:pt>
    <dgm:pt modelId="{FF106041-B5FF-43C7-A23D-9285E8DE6F7B}">
      <dgm:prSet phldrT="[Text]">
        <dgm:style>
          <a:lnRef idx="1">
            <a:schemeClr val="accent3"/>
          </a:lnRef>
          <a:fillRef idx="2">
            <a:schemeClr val="accent3"/>
          </a:fillRef>
          <a:effectRef idx="1">
            <a:schemeClr val="accent3"/>
          </a:effectRef>
          <a:fontRef idx="minor">
            <a:schemeClr val="dk1"/>
          </a:fontRef>
        </dgm:style>
      </dgm:prSet>
      <dgm:spPr/>
      <dgm:t>
        <a:bodyPr/>
        <a:lstStyle/>
        <a:p>
          <a:pPr algn="ctr"/>
          <a:r>
            <a:rPr lang="en-SG" dirty="0"/>
            <a:t>Standard agents require constant monitoring of human to decide on when to intervene</a:t>
          </a:r>
        </a:p>
      </dgm:t>
    </dgm:pt>
    <dgm:pt modelId="{73807D11-683D-4F27-8402-1265A16D14B3}" type="parTrans" cxnId="{318FDB64-472C-44CC-96EF-5FF6D5AF2718}">
      <dgm:prSet/>
      <dgm:spPr/>
      <dgm:t>
        <a:bodyPr/>
        <a:lstStyle/>
        <a:p>
          <a:pPr algn="ctr"/>
          <a:endParaRPr lang="en-SG"/>
        </a:p>
      </dgm:t>
    </dgm:pt>
    <dgm:pt modelId="{C6681A32-2D46-4A4E-B6E8-597F432C00AF}" type="sibTrans" cxnId="{318FDB64-472C-44CC-96EF-5FF6D5AF2718}">
      <dgm:prSet/>
      <dgm:spPr/>
      <dgm:t>
        <a:bodyPr/>
        <a:lstStyle/>
        <a:p>
          <a:pPr algn="ctr"/>
          <a:endParaRPr lang="en-SG"/>
        </a:p>
      </dgm:t>
    </dgm:pt>
    <dgm:pt modelId="{72C7C6A5-624E-4CA7-BDB6-38B374583921}" type="pres">
      <dgm:prSet presAssocID="{561002F4-9013-41EF-BDF7-C3FFD82C79A7}" presName="vert0" presStyleCnt="0">
        <dgm:presLayoutVars>
          <dgm:dir/>
          <dgm:animOne val="branch"/>
          <dgm:animLvl val="lvl"/>
        </dgm:presLayoutVars>
      </dgm:prSet>
      <dgm:spPr/>
    </dgm:pt>
    <dgm:pt modelId="{92360118-798A-400A-8EAC-E2F76D7176C6}" type="pres">
      <dgm:prSet presAssocID="{A878743B-8713-48B6-A023-5E7CD9242298}" presName="thickLine" presStyleLbl="alignNode1" presStyleIdx="0" presStyleCnt="1"/>
      <dgm:spPr/>
    </dgm:pt>
    <dgm:pt modelId="{DE33AFBE-6291-4451-9DE3-21BF5B06AE02}" type="pres">
      <dgm:prSet presAssocID="{A878743B-8713-48B6-A023-5E7CD9242298}" presName="horz1" presStyleCnt="0"/>
      <dgm:spPr/>
    </dgm:pt>
    <dgm:pt modelId="{3AA8DA47-E470-443F-8A33-AF800948C291}" type="pres">
      <dgm:prSet presAssocID="{A878743B-8713-48B6-A023-5E7CD9242298}" presName="tx1" presStyleLbl="revTx" presStyleIdx="0" presStyleCnt="10"/>
      <dgm:spPr/>
    </dgm:pt>
    <dgm:pt modelId="{29218C35-C4B1-4EBC-B402-5FF4B3BDBC25}" type="pres">
      <dgm:prSet presAssocID="{A878743B-8713-48B6-A023-5E7CD9242298}" presName="vert1" presStyleCnt="0"/>
      <dgm:spPr/>
    </dgm:pt>
    <dgm:pt modelId="{C1A11068-D5BC-473D-85B7-B04AAB4E1C91}" type="pres">
      <dgm:prSet presAssocID="{1AA0DC49-AF4B-4E7D-B61C-E1263B7AF778}" presName="vertSpace2a" presStyleCnt="0"/>
      <dgm:spPr/>
    </dgm:pt>
    <dgm:pt modelId="{66DF0BE6-F444-4009-8119-9297F3E1A91A}" type="pres">
      <dgm:prSet presAssocID="{1AA0DC49-AF4B-4E7D-B61C-E1263B7AF778}" presName="horz2" presStyleCnt="0"/>
      <dgm:spPr/>
    </dgm:pt>
    <dgm:pt modelId="{2F8E9D62-846A-499F-B3E8-8CF71485520D}" type="pres">
      <dgm:prSet presAssocID="{1AA0DC49-AF4B-4E7D-B61C-E1263B7AF778}" presName="horzSpace2" presStyleCnt="0"/>
      <dgm:spPr/>
    </dgm:pt>
    <dgm:pt modelId="{666BE666-1C8A-47AE-AC64-E8E5A8E9F341}" type="pres">
      <dgm:prSet presAssocID="{1AA0DC49-AF4B-4E7D-B61C-E1263B7AF778}" presName="tx2" presStyleLbl="revTx" presStyleIdx="1" presStyleCnt="10" custScaleY="100001"/>
      <dgm:spPr/>
    </dgm:pt>
    <dgm:pt modelId="{5AE10AD1-794B-45DE-B364-11DCBA8703FA}" type="pres">
      <dgm:prSet presAssocID="{1AA0DC49-AF4B-4E7D-B61C-E1263B7AF778}" presName="vert2" presStyleCnt="0"/>
      <dgm:spPr/>
    </dgm:pt>
    <dgm:pt modelId="{454BFC5F-579E-452C-A942-A59B71FBA429}" type="pres">
      <dgm:prSet presAssocID="{3AD2797F-B073-4B55-808A-9F3D8A43116B}" presName="horz3" presStyleCnt="0"/>
      <dgm:spPr/>
    </dgm:pt>
    <dgm:pt modelId="{57D97EBF-86CE-43DE-8166-465AD58DC295}" type="pres">
      <dgm:prSet presAssocID="{3AD2797F-B073-4B55-808A-9F3D8A43116B}" presName="horzSpace3" presStyleCnt="0"/>
      <dgm:spPr/>
    </dgm:pt>
    <dgm:pt modelId="{25C1C9DA-861D-4D92-8B53-FA3B2373FD47}" type="pres">
      <dgm:prSet presAssocID="{3AD2797F-B073-4B55-808A-9F3D8A43116B}" presName="tx3" presStyleLbl="revTx" presStyleIdx="2" presStyleCnt="10"/>
      <dgm:spPr/>
    </dgm:pt>
    <dgm:pt modelId="{FC18CE94-E500-465E-85C3-A7E1E509DA94}" type="pres">
      <dgm:prSet presAssocID="{3AD2797F-B073-4B55-808A-9F3D8A43116B}" presName="vert3" presStyleCnt="0"/>
      <dgm:spPr/>
    </dgm:pt>
    <dgm:pt modelId="{539624C3-CED9-4094-BCB5-3E9A775A4055}" type="pres">
      <dgm:prSet presAssocID="{B5112C8D-0EB1-4ED7-A6A5-A9A5529EB11A}" presName="horz4" presStyleCnt="0"/>
      <dgm:spPr/>
    </dgm:pt>
    <dgm:pt modelId="{935F9AF1-997D-4C20-B4F0-3F5415BDA37B}" type="pres">
      <dgm:prSet presAssocID="{B5112C8D-0EB1-4ED7-A6A5-A9A5529EB11A}" presName="horzSpace4" presStyleCnt="0"/>
      <dgm:spPr/>
    </dgm:pt>
    <dgm:pt modelId="{DCA6F928-7185-40E9-8AB9-10D7B5E48893}" type="pres">
      <dgm:prSet presAssocID="{B5112C8D-0EB1-4ED7-A6A5-A9A5529EB11A}" presName="tx4" presStyleLbl="revTx" presStyleIdx="3" presStyleCnt="10">
        <dgm:presLayoutVars>
          <dgm:bulletEnabled val="1"/>
        </dgm:presLayoutVars>
      </dgm:prSet>
      <dgm:spPr/>
    </dgm:pt>
    <dgm:pt modelId="{76874B9A-D265-48F0-99CE-EDE66E93788F}" type="pres">
      <dgm:prSet presAssocID="{1AA0DC49-AF4B-4E7D-B61C-E1263B7AF778}" presName="thinLine2b" presStyleLbl="callout" presStyleIdx="0" presStyleCnt="3"/>
      <dgm:spPr/>
    </dgm:pt>
    <dgm:pt modelId="{A89AA918-76DD-47C8-B9C3-7E8ACADA44E2}" type="pres">
      <dgm:prSet presAssocID="{1AA0DC49-AF4B-4E7D-B61C-E1263B7AF778}" presName="vertSpace2b" presStyleCnt="0"/>
      <dgm:spPr/>
    </dgm:pt>
    <dgm:pt modelId="{58AD1A29-DC78-4E54-BC14-C2EF7923570B}" type="pres">
      <dgm:prSet presAssocID="{F7D982CA-4FB2-421B-BE2F-4A580397545C}" presName="horz2" presStyleCnt="0"/>
      <dgm:spPr/>
    </dgm:pt>
    <dgm:pt modelId="{EB162178-954E-41E9-BE37-7DD2C45D85AA}" type="pres">
      <dgm:prSet presAssocID="{F7D982CA-4FB2-421B-BE2F-4A580397545C}" presName="horzSpace2" presStyleCnt="0"/>
      <dgm:spPr/>
    </dgm:pt>
    <dgm:pt modelId="{4A896E78-DF8F-4465-AF0D-E4D7224CDBEA}" type="pres">
      <dgm:prSet presAssocID="{F7D982CA-4FB2-421B-BE2F-4A580397545C}" presName="tx2" presStyleLbl="revTx" presStyleIdx="4" presStyleCnt="10"/>
      <dgm:spPr/>
    </dgm:pt>
    <dgm:pt modelId="{187C049B-6691-4308-BA5C-38C0D4967D4E}" type="pres">
      <dgm:prSet presAssocID="{F7D982CA-4FB2-421B-BE2F-4A580397545C}" presName="vert2" presStyleCnt="0"/>
      <dgm:spPr/>
    </dgm:pt>
    <dgm:pt modelId="{89103B75-38A4-4534-83F1-1FE3F53976B7}" type="pres">
      <dgm:prSet presAssocID="{4447F985-4A82-4BDB-9583-3848C455633D}" presName="horz3" presStyleCnt="0"/>
      <dgm:spPr/>
    </dgm:pt>
    <dgm:pt modelId="{3B4AEE5D-F0DD-4BB7-ABF1-4AFA1E26CC61}" type="pres">
      <dgm:prSet presAssocID="{4447F985-4A82-4BDB-9583-3848C455633D}" presName="horzSpace3" presStyleCnt="0"/>
      <dgm:spPr/>
    </dgm:pt>
    <dgm:pt modelId="{6201EADB-79E9-4C89-A0B2-099EBAC0E935}" type="pres">
      <dgm:prSet presAssocID="{4447F985-4A82-4BDB-9583-3848C455633D}" presName="tx3" presStyleLbl="revTx" presStyleIdx="5" presStyleCnt="10"/>
      <dgm:spPr/>
    </dgm:pt>
    <dgm:pt modelId="{2BD9229E-697F-4834-8C97-CC881076B5C8}" type="pres">
      <dgm:prSet presAssocID="{4447F985-4A82-4BDB-9583-3848C455633D}" presName="vert3" presStyleCnt="0"/>
      <dgm:spPr/>
    </dgm:pt>
    <dgm:pt modelId="{92503120-8BFC-4507-8BDF-4611D1F3D59B}" type="pres">
      <dgm:prSet presAssocID="{3BDC00FB-65CE-497C-9D83-7F092A8DF243}" presName="horz4" presStyleCnt="0"/>
      <dgm:spPr/>
    </dgm:pt>
    <dgm:pt modelId="{56736AAC-0762-428C-9AF7-45A0230E83D1}" type="pres">
      <dgm:prSet presAssocID="{3BDC00FB-65CE-497C-9D83-7F092A8DF243}" presName="horzSpace4" presStyleCnt="0"/>
      <dgm:spPr/>
    </dgm:pt>
    <dgm:pt modelId="{F4C60B90-7FA5-4ECA-8B6A-4F83C8A383E3}" type="pres">
      <dgm:prSet presAssocID="{3BDC00FB-65CE-497C-9D83-7F092A8DF243}" presName="tx4" presStyleLbl="revTx" presStyleIdx="6" presStyleCnt="10">
        <dgm:presLayoutVars>
          <dgm:bulletEnabled val="1"/>
        </dgm:presLayoutVars>
      </dgm:prSet>
      <dgm:spPr/>
    </dgm:pt>
    <dgm:pt modelId="{E9896DC2-A9C4-440F-8A2F-66DA7E0EA950}" type="pres">
      <dgm:prSet presAssocID="{F7D982CA-4FB2-421B-BE2F-4A580397545C}" presName="thinLine2b" presStyleLbl="callout" presStyleIdx="1" presStyleCnt="3"/>
      <dgm:spPr/>
    </dgm:pt>
    <dgm:pt modelId="{852860C0-6BC7-4174-B96B-D33846C00F23}" type="pres">
      <dgm:prSet presAssocID="{F7D982CA-4FB2-421B-BE2F-4A580397545C}" presName="vertSpace2b" presStyleCnt="0"/>
      <dgm:spPr/>
    </dgm:pt>
    <dgm:pt modelId="{102AD07B-DBC8-47BB-8A5A-7BC20CD6FBE7}" type="pres">
      <dgm:prSet presAssocID="{B695C848-8DC5-4E58-9E62-BA696E9089C7}" presName="horz2" presStyleCnt="0"/>
      <dgm:spPr/>
    </dgm:pt>
    <dgm:pt modelId="{B198418E-E3E8-4671-9958-9C87909C41E6}" type="pres">
      <dgm:prSet presAssocID="{B695C848-8DC5-4E58-9E62-BA696E9089C7}" presName="horzSpace2" presStyleCnt="0"/>
      <dgm:spPr/>
    </dgm:pt>
    <dgm:pt modelId="{0B27E708-A2EA-480A-BFB3-FC4CC6410E9D}" type="pres">
      <dgm:prSet presAssocID="{B695C848-8DC5-4E58-9E62-BA696E9089C7}" presName="tx2" presStyleLbl="revTx" presStyleIdx="7" presStyleCnt="10"/>
      <dgm:spPr/>
    </dgm:pt>
    <dgm:pt modelId="{96506C98-FFF0-4345-8D1E-7C1DE7B556B6}" type="pres">
      <dgm:prSet presAssocID="{B695C848-8DC5-4E58-9E62-BA696E9089C7}" presName="vert2" presStyleCnt="0"/>
      <dgm:spPr/>
    </dgm:pt>
    <dgm:pt modelId="{0EBE7447-65C1-4D43-816B-83DC53C26832}" type="pres">
      <dgm:prSet presAssocID="{A65481D0-1C12-41D2-AC59-A458B233DD0D}" presName="horz3" presStyleCnt="0"/>
      <dgm:spPr/>
    </dgm:pt>
    <dgm:pt modelId="{D9B35690-873C-4A0F-BEDE-F83F1276E363}" type="pres">
      <dgm:prSet presAssocID="{A65481D0-1C12-41D2-AC59-A458B233DD0D}" presName="horzSpace3" presStyleCnt="0"/>
      <dgm:spPr/>
    </dgm:pt>
    <dgm:pt modelId="{EB14C99A-8A29-4DEE-827F-30F59D500F93}" type="pres">
      <dgm:prSet presAssocID="{A65481D0-1C12-41D2-AC59-A458B233DD0D}" presName="tx3" presStyleLbl="revTx" presStyleIdx="8" presStyleCnt="10"/>
      <dgm:spPr/>
    </dgm:pt>
    <dgm:pt modelId="{F3A5E178-1F9A-4D28-BEB4-C5C760FBBD9C}" type="pres">
      <dgm:prSet presAssocID="{A65481D0-1C12-41D2-AC59-A458B233DD0D}" presName="vert3" presStyleCnt="0"/>
      <dgm:spPr/>
    </dgm:pt>
    <dgm:pt modelId="{9B5EBA03-E672-4203-9648-CF27F3FAA1A5}" type="pres">
      <dgm:prSet presAssocID="{FF106041-B5FF-43C7-A23D-9285E8DE6F7B}" presName="horz4" presStyleCnt="0"/>
      <dgm:spPr/>
    </dgm:pt>
    <dgm:pt modelId="{FB7FC963-F3DB-4C76-A053-EBB84433B3CA}" type="pres">
      <dgm:prSet presAssocID="{FF106041-B5FF-43C7-A23D-9285E8DE6F7B}" presName="horzSpace4" presStyleCnt="0"/>
      <dgm:spPr/>
    </dgm:pt>
    <dgm:pt modelId="{E1BB0A2F-AF9D-4F8E-9BA3-F677C3CF1C86}" type="pres">
      <dgm:prSet presAssocID="{FF106041-B5FF-43C7-A23D-9285E8DE6F7B}" presName="tx4" presStyleLbl="revTx" presStyleIdx="9" presStyleCnt="10">
        <dgm:presLayoutVars>
          <dgm:bulletEnabled val="1"/>
        </dgm:presLayoutVars>
      </dgm:prSet>
      <dgm:spPr/>
    </dgm:pt>
    <dgm:pt modelId="{600D49F3-1594-43C2-B075-D5EAEC507251}" type="pres">
      <dgm:prSet presAssocID="{B695C848-8DC5-4E58-9E62-BA696E9089C7}" presName="thinLine2b" presStyleLbl="callout" presStyleIdx="2" presStyleCnt="3"/>
      <dgm:spPr/>
    </dgm:pt>
    <dgm:pt modelId="{5C2257A8-F8B6-402C-AB68-B1A884C2BB2C}" type="pres">
      <dgm:prSet presAssocID="{B695C848-8DC5-4E58-9E62-BA696E9089C7}" presName="vertSpace2b" presStyleCnt="0"/>
      <dgm:spPr/>
    </dgm:pt>
  </dgm:ptLst>
  <dgm:cxnLst>
    <dgm:cxn modelId="{7A41255D-104D-46EB-BADC-ADBF45578B88}" srcId="{A878743B-8713-48B6-A023-5E7CD9242298}" destId="{B695C848-8DC5-4E58-9E62-BA696E9089C7}" srcOrd="2" destOrd="0" parTransId="{C8F83F3F-91C5-426A-A037-0E9FCBD99AE0}" sibTransId="{617F9521-5D86-4A27-8F5E-93DB07F6873A}"/>
    <dgm:cxn modelId="{A98CC661-5B58-4259-8F10-3520CC23617B}" type="presOf" srcId="{A65481D0-1C12-41D2-AC59-A458B233DD0D}" destId="{EB14C99A-8A29-4DEE-827F-30F59D500F93}" srcOrd="0" destOrd="0" presId="urn:microsoft.com/office/officeart/2008/layout/LinedList"/>
    <dgm:cxn modelId="{318FDB64-472C-44CC-96EF-5FF6D5AF2718}" srcId="{A65481D0-1C12-41D2-AC59-A458B233DD0D}" destId="{FF106041-B5FF-43C7-A23D-9285E8DE6F7B}" srcOrd="0" destOrd="0" parTransId="{73807D11-683D-4F27-8402-1265A16D14B3}" sibTransId="{C6681A32-2D46-4A4E-B6E8-597F432C00AF}"/>
    <dgm:cxn modelId="{AD0EC267-DCF8-46DA-AE0D-EA6234F179E0}" type="presOf" srcId="{B5112C8D-0EB1-4ED7-A6A5-A9A5529EB11A}" destId="{DCA6F928-7185-40E9-8AB9-10D7B5E48893}" srcOrd="0" destOrd="0" presId="urn:microsoft.com/office/officeart/2008/layout/LinedList"/>
    <dgm:cxn modelId="{DF5E2E4C-D867-4071-8AA4-2C6444724E02}" type="presOf" srcId="{F7D982CA-4FB2-421B-BE2F-4A580397545C}" destId="{4A896E78-DF8F-4465-AF0D-E4D7224CDBEA}" srcOrd="0" destOrd="0" presId="urn:microsoft.com/office/officeart/2008/layout/LinedList"/>
    <dgm:cxn modelId="{3094BC4F-4B65-4E21-B6FC-3F59691A2281}" type="presOf" srcId="{3BDC00FB-65CE-497C-9D83-7F092A8DF243}" destId="{F4C60B90-7FA5-4ECA-8B6A-4F83C8A383E3}" srcOrd="0" destOrd="0" presId="urn:microsoft.com/office/officeart/2008/layout/LinedList"/>
    <dgm:cxn modelId="{21FF9772-C4FC-474A-AC33-A00ED4C5BF67}" type="presOf" srcId="{B695C848-8DC5-4E58-9E62-BA696E9089C7}" destId="{0B27E708-A2EA-480A-BFB3-FC4CC6410E9D}" srcOrd="0" destOrd="0" presId="urn:microsoft.com/office/officeart/2008/layout/LinedList"/>
    <dgm:cxn modelId="{A4169955-43DA-46E8-AB96-CFF244FC7632}" type="presOf" srcId="{FF106041-B5FF-43C7-A23D-9285E8DE6F7B}" destId="{E1BB0A2F-AF9D-4F8E-9BA3-F677C3CF1C86}" srcOrd="0" destOrd="0" presId="urn:microsoft.com/office/officeart/2008/layout/LinedList"/>
    <dgm:cxn modelId="{7EA89756-0E82-4FF4-A70A-6E25DEED04F1}" srcId="{A878743B-8713-48B6-A023-5E7CD9242298}" destId="{1AA0DC49-AF4B-4E7D-B61C-E1263B7AF778}" srcOrd="0" destOrd="0" parTransId="{58346BF9-3B8E-4796-A544-4CCBAA1E054F}" sibTransId="{F1B45C09-9236-4010-9A64-53EC4315A7CF}"/>
    <dgm:cxn modelId="{4DE9F478-19F8-4508-8368-E64174B1F15A}" type="presOf" srcId="{4447F985-4A82-4BDB-9583-3848C455633D}" destId="{6201EADB-79E9-4C89-A0B2-099EBAC0E935}" srcOrd="0" destOrd="0" presId="urn:microsoft.com/office/officeart/2008/layout/LinedList"/>
    <dgm:cxn modelId="{C8EFED84-FD5D-40DD-A324-7125ECDF96EF}" srcId="{B695C848-8DC5-4E58-9E62-BA696E9089C7}" destId="{A65481D0-1C12-41D2-AC59-A458B233DD0D}" srcOrd="0" destOrd="0" parTransId="{69A37CB3-5021-48A1-875D-95A8E97EBCC0}" sibTransId="{F8C6E7AA-7CA5-49CB-9FD3-1B1AE8826223}"/>
    <dgm:cxn modelId="{AE7E8F96-1D86-4340-9F5D-B21C97E081A5}" srcId="{1AA0DC49-AF4B-4E7D-B61C-E1263B7AF778}" destId="{3AD2797F-B073-4B55-808A-9F3D8A43116B}" srcOrd="0" destOrd="0" parTransId="{5B46A750-D70E-4CC6-8097-C0A1173469D6}" sibTransId="{930038EB-22CC-4B5C-9921-343019323D3F}"/>
    <dgm:cxn modelId="{1BECD59F-4D1A-4A90-8C30-C439CB62F63D}" type="presOf" srcId="{1AA0DC49-AF4B-4E7D-B61C-E1263B7AF778}" destId="{666BE666-1C8A-47AE-AC64-E8E5A8E9F341}" srcOrd="0" destOrd="0" presId="urn:microsoft.com/office/officeart/2008/layout/LinedList"/>
    <dgm:cxn modelId="{A4810CA0-D5CF-493F-A947-5540A671E1D4}" srcId="{4447F985-4A82-4BDB-9583-3848C455633D}" destId="{3BDC00FB-65CE-497C-9D83-7F092A8DF243}" srcOrd="0" destOrd="0" parTransId="{11F4F035-CCC8-46E1-A3E6-02E8822B82F7}" sibTransId="{67C53023-C258-47CE-A2EE-20B9FB180323}"/>
    <dgm:cxn modelId="{D7B5C6AC-2A15-4E87-8F93-F658B0BC88DE}" srcId="{561002F4-9013-41EF-BDF7-C3FFD82C79A7}" destId="{A878743B-8713-48B6-A023-5E7CD9242298}" srcOrd="0" destOrd="0" parTransId="{F570B34F-55DC-42A9-B8D6-F25A89C67C46}" sibTransId="{77C73A39-D3CA-43B0-8280-0DEB86F356A8}"/>
    <dgm:cxn modelId="{0C12DEAD-481A-46FC-B799-7A9B8778EDEA}" type="presOf" srcId="{A878743B-8713-48B6-A023-5E7CD9242298}" destId="{3AA8DA47-E470-443F-8A33-AF800948C291}" srcOrd="0" destOrd="0" presId="urn:microsoft.com/office/officeart/2008/layout/LinedList"/>
    <dgm:cxn modelId="{F0A713AE-F5DF-4B19-8207-24B7AAE7158B}" type="presOf" srcId="{3AD2797F-B073-4B55-808A-9F3D8A43116B}" destId="{25C1C9DA-861D-4D92-8B53-FA3B2373FD47}" srcOrd="0" destOrd="0" presId="urn:microsoft.com/office/officeart/2008/layout/LinedList"/>
    <dgm:cxn modelId="{61B9FFB7-3C4F-4FB8-9E73-95F07864C09B}" srcId="{F7D982CA-4FB2-421B-BE2F-4A580397545C}" destId="{4447F985-4A82-4BDB-9583-3848C455633D}" srcOrd="0" destOrd="0" parTransId="{C4E8A223-3EA7-4808-9D01-E904068211E1}" sibTransId="{305C9BFD-84E1-4CB9-A878-779422CFEAFA}"/>
    <dgm:cxn modelId="{228BB0DE-BEC4-4FF5-9645-2D071BD310A1}" srcId="{A878743B-8713-48B6-A023-5E7CD9242298}" destId="{F7D982CA-4FB2-421B-BE2F-4A580397545C}" srcOrd="1" destOrd="0" parTransId="{597FB18B-7BCC-4B10-B10A-E43D15BF13D4}" sibTransId="{FC37530C-F1F1-4653-AB2A-421E10E18852}"/>
    <dgm:cxn modelId="{6D044DE5-50BD-400F-9C27-414481A054A7}" srcId="{3AD2797F-B073-4B55-808A-9F3D8A43116B}" destId="{B5112C8D-0EB1-4ED7-A6A5-A9A5529EB11A}" srcOrd="0" destOrd="0" parTransId="{F27FF715-04DC-4676-BBF6-D1F7E5D0C4E7}" sibTransId="{D3936C76-A2DB-4D42-99A7-C68A21CCC042}"/>
    <dgm:cxn modelId="{FCA4E9EE-2519-4D16-88E9-BCB252749D09}" type="presOf" srcId="{561002F4-9013-41EF-BDF7-C3FFD82C79A7}" destId="{72C7C6A5-624E-4CA7-BDB6-38B374583921}" srcOrd="0" destOrd="0" presId="urn:microsoft.com/office/officeart/2008/layout/LinedList"/>
    <dgm:cxn modelId="{9F0FB536-8961-45E7-8CAB-360DAAC4AD65}" type="presParOf" srcId="{72C7C6A5-624E-4CA7-BDB6-38B374583921}" destId="{92360118-798A-400A-8EAC-E2F76D7176C6}" srcOrd="0" destOrd="0" presId="urn:microsoft.com/office/officeart/2008/layout/LinedList"/>
    <dgm:cxn modelId="{FCC49176-A1A4-4285-A042-BB5E167B8A9A}" type="presParOf" srcId="{72C7C6A5-624E-4CA7-BDB6-38B374583921}" destId="{DE33AFBE-6291-4451-9DE3-21BF5B06AE02}" srcOrd="1" destOrd="0" presId="urn:microsoft.com/office/officeart/2008/layout/LinedList"/>
    <dgm:cxn modelId="{FEB43BD1-5DD8-4758-AA77-F024DD111502}" type="presParOf" srcId="{DE33AFBE-6291-4451-9DE3-21BF5B06AE02}" destId="{3AA8DA47-E470-443F-8A33-AF800948C291}" srcOrd="0" destOrd="0" presId="urn:microsoft.com/office/officeart/2008/layout/LinedList"/>
    <dgm:cxn modelId="{100B1710-4EF1-44CC-A35D-4FA4A23C7C9E}" type="presParOf" srcId="{DE33AFBE-6291-4451-9DE3-21BF5B06AE02}" destId="{29218C35-C4B1-4EBC-B402-5FF4B3BDBC25}" srcOrd="1" destOrd="0" presId="urn:microsoft.com/office/officeart/2008/layout/LinedList"/>
    <dgm:cxn modelId="{F2DE6277-5641-4F00-958F-A4EB02B9ED28}" type="presParOf" srcId="{29218C35-C4B1-4EBC-B402-5FF4B3BDBC25}" destId="{C1A11068-D5BC-473D-85B7-B04AAB4E1C91}" srcOrd="0" destOrd="0" presId="urn:microsoft.com/office/officeart/2008/layout/LinedList"/>
    <dgm:cxn modelId="{6D28BA14-12C4-400F-BF35-DBBF3D64125E}" type="presParOf" srcId="{29218C35-C4B1-4EBC-B402-5FF4B3BDBC25}" destId="{66DF0BE6-F444-4009-8119-9297F3E1A91A}" srcOrd="1" destOrd="0" presId="urn:microsoft.com/office/officeart/2008/layout/LinedList"/>
    <dgm:cxn modelId="{CB664A38-5D8A-483A-AFEB-055A9B53C11C}" type="presParOf" srcId="{66DF0BE6-F444-4009-8119-9297F3E1A91A}" destId="{2F8E9D62-846A-499F-B3E8-8CF71485520D}" srcOrd="0" destOrd="0" presId="urn:microsoft.com/office/officeart/2008/layout/LinedList"/>
    <dgm:cxn modelId="{B814119D-77E2-42DD-8246-66F522C6474A}" type="presParOf" srcId="{66DF0BE6-F444-4009-8119-9297F3E1A91A}" destId="{666BE666-1C8A-47AE-AC64-E8E5A8E9F341}" srcOrd="1" destOrd="0" presId="urn:microsoft.com/office/officeart/2008/layout/LinedList"/>
    <dgm:cxn modelId="{7A01AF12-62B0-4245-A590-925CAD723068}" type="presParOf" srcId="{66DF0BE6-F444-4009-8119-9297F3E1A91A}" destId="{5AE10AD1-794B-45DE-B364-11DCBA8703FA}" srcOrd="2" destOrd="0" presId="urn:microsoft.com/office/officeart/2008/layout/LinedList"/>
    <dgm:cxn modelId="{793AFC43-8E48-46CC-8D5F-AF68AFC9B8DE}" type="presParOf" srcId="{5AE10AD1-794B-45DE-B364-11DCBA8703FA}" destId="{454BFC5F-579E-452C-A942-A59B71FBA429}" srcOrd="0" destOrd="0" presId="urn:microsoft.com/office/officeart/2008/layout/LinedList"/>
    <dgm:cxn modelId="{70922770-4F88-4963-BA5B-BF91D1699A72}" type="presParOf" srcId="{454BFC5F-579E-452C-A942-A59B71FBA429}" destId="{57D97EBF-86CE-43DE-8166-465AD58DC295}" srcOrd="0" destOrd="0" presId="urn:microsoft.com/office/officeart/2008/layout/LinedList"/>
    <dgm:cxn modelId="{CAB9FD38-CD63-4F6A-B9EB-45AEE3EFCD71}" type="presParOf" srcId="{454BFC5F-579E-452C-A942-A59B71FBA429}" destId="{25C1C9DA-861D-4D92-8B53-FA3B2373FD47}" srcOrd="1" destOrd="0" presId="urn:microsoft.com/office/officeart/2008/layout/LinedList"/>
    <dgm:cxn modelId="{8FDC7232-887D-4957-A44D-75800C0633F6}" type="presParOf" srcId="{454BFC5F-579E-452C-A942-A59B71FBA429}" destId="{FC18CE94-E500-465E-85C3-A7E1E509DA94}" srcOrd="2" destOrd="0" presId="urn:microsoft.com/office/officeart/2008/layout/LinedList"/>
    <dgm:cxn modelId="{A45B3509-FD2D-4E68-A9E1-8D32D4451278}" type="presParOf" srcId="{FC18CE94-E500-465E-85C3-A7E1E509DA94}" destId="{539624C3-CED9-4094-BCB5-3E9A775A4055}" srcOrd="0" destOrd="0" presId="urn:microsoft.com/office/officeart/2008/layout/LinedList"/>
    <dgm:cxn modelId="{8C9AB5D6-E98F-485F-B2B8-8375903F4BC3}" type="presParOf" srcId="{539624C3-CED9-4094-BCB5-3E9A775A4055}" destId="{935F9AF1-997D-4C20-B4F0-3F5415BDA37B}" srcOrd="0" destOrd="0" presId="urn:microsoft.com/office/officeart/2008/layout/LinedList"/>
    <dgm:cxn modelId="{E459629B-2C65-4EAE-BDCC-94BD787BD2AB}" type="presParOf" srcId="{539624C3-CED9-4094-BCB5-3E9A775A4055}" destId="{DCA6F928-7185-40E9-8AB9-10D7B5E48893}" srcOrd="1" destOrd="0" presId="urn:microsoft.com/office/officeart/2008/layout/LinedList"/>
    <dgm:cxn modelId="{7CD8B6F1-B36D-4A06-AFAD-4A8D2D805224}" type="presParOf" srcId="{29218C35-C4B1-4EBC-B402-5FF4B3BDBC25}" destId="{76874B9A-D265-48F0-99CE-EDE66E93788F}" srcOrd="2" destOrd="0" presId="urn:microsoft.com/office/officeart/2008/layout/LinedList"/>
    <dgm:cxn modelId="{57D32D4F-1B62-4364-AA30-FFA5A5E88FC2}" type="presParOf" srcId="{29218C35-C4B1-4EBC-B402-5FF4B3BDBC25}" destId="{A89AA918-76DD-47C8-B9C3-7E8ACADA44E2}" srcOrd="3" destOrd="0" presId="urn:microsoft.com/office/officeart/2008/layout/LinedList"/>
    <dgm:cxn modelId="{4D61D399-0DBD-45F2-AC92-051B03ABA5FB}" type="presParOf" srcId="{29218C35-C4B1-4EBC-B402-5FF4B3BDBC25}" destId="{58AD1A29-DC78-4E54-BC14-C2EF7923570B}" srcOrd="4" destOrd="0" presId="urn:microsoft.com/office/officeart/2008/layout/LinedList"/>
    <dgm:cxn modelId="{5FE19C19-A155-4F72-9583-EB2DDE807BE7}" type="presParOf" srcId="{58AD1A29-DC78-4E54-BC14-C2EF7923570B}" destId="{EB162178-954E-41E9-BE37-7DD2C45D85AA}" srcOrd="0" destOrd="0" presId="urn:microsoft.com/office/officeart/2008/layout/LinedList"/>
    <dgm:cxn modelId="{A97A479F-03D8-40E6-A375-48C60484ED5C}" type="presParOf" srcId="{58AD1A29-DC78-4E54-BC14-C2EF7923570B}" destId="{4A896E78-DF8F-4465-AF0D-E4D7224CDBEA}" srcOrd="1" destOrd="0" presId="urn:microsoft.com/office/officeart/2008/layout/LinedList"/>
    <dgm:cxn modelId="{769C13C3-3628-498C-AA52-C91F9DDF919C}" type="presParOf" srcId="{58AD1A29-DC78-4E54-BC14-C2EF7923570B}" destId="{187C049B-6691-4308-BA5C-38C0D4967D4E}" srcOrd="2" destOrd="0" presId="urn:microsoft.com/office/officeart/2008/layout/LinedList"/>
    <dgm:cxn modelId="{99C73913-98CC-49D0-90BE-41FDEC273B59}" type="presParOf" srcId="{187C049B-6691-4308-BA5C-38C0D4967D4E}" destId="{89103B75-38A4-4534-83F1-1FE3F53976B7}" srcOrd="0" destOrd="0" presId="urn:microsoft.com/office/officeart/2008/layout/LinedList"/>
    <dgm:cxn modelId="{03507A78-AC7C-4D09-B71E-EB30816C603C}" type="presParOf" srcId="{89103B75-38A4-4534-83F1-1FE3F53976B7}" destId="{3B4AEE5D-F0DD-4BB7-ABF1-4AFA1E26CC61}" srcOrd="0" destOrd="0" presId="urn:microsoft.com/office/officeart/2008/layout/LinedList"/>
    <dgm:cxn modelId="{8C546AEB-A67B-44A5-8BBC-8F184A5692DF}" type="presParOf" srcId="{89103B75-38A4-4534-83F1-1FE3F53976B7}" destId="{6201EADB-79E9-4C89-A0B2-099EBAC0E935}" srcOrd="1" destOrd="0" presId="urn:microsoft.com/office/officeart/2008/layout/LinedList"/>
    <dgm:cxn modelId="{B46993B9-19FA-49DB-8C9A-91F4FE0A378D}" type="presParOf" srcId="{89103B75-38A4-4534-83F1-1FE3F53976B7}" destId="{2BD9229E-697F-4834-8C97-CC881076B5C8}" srcOrd="2" destOrd="0" presId="urn:microsoft.com/office/officeart/2008/layout/LinedList"/>
    <dgm:cxn modelId="{BFC5DB9C-777C-40BA-A1C6-1A7CF9D3A028}" type="presParOf" srcId="{2BD9229E-697F-4834-8C97-CC881076B5C8}" destId="{92503120-8BFC-4507-8BDF-4611D1F3D59B}" srcOrd="0" destOrd="0" presId="urn:microsoft.com/office/officeart/2008/layout/LinedList"/>
    <dgm:cxn modelId="{455F3E66-A725-45F7-887A-CE5F230E6016}" type="presParOf" srcId="{92503120-8BFC-4507-8BDF-4611D1F3D59B}" destId="{56736AAC-0762-428C-9AF7-45A0230E83D1}" srcOrd="0" destOrd="0" presId="urn:microsoft.com/office/officeart/2008/layout/LinedList"/>
    <dgm:cxn modelId="{F5ABB287-0F00-4A5B-8A34-C06E8399E06D}" type="presParOf" srcId="{92503120-8BFC-4507-8BDF-4611D1F3D59B}" destId="{F4C60B90-7FA5-4ECA-8B6A-4F83C8A383E3}" srcOrd="1" destOrd="0" presId="urn:microsoft.com/office/officeart/2008/layout/LinedList"/>
    <dgm:cxn modelId="{315D9A3F-C8B1-43CA-A838-1207691C4154}" type="presParOf" srcId="{29218C35-C4B1-4EBC-B402-5FF4B3BDBC25}" destId="{E9896DC2-A9C4-440F-8A2F-66DA7E0EA950}" srcOrd="5" destOrd="0" presId="urn:microsoft.com/office/officeart/2008/layout/LinedList"/>
    <dgm:cxn modelId="{81AC88AF-4BE2-4238-8125-19D114589DB2}" type="presParOf" srcId="{29218C35-C4B1-4EBC-B402-5FF4B3BDBC25}" destId="{852860C0-6BC7-4174-B96B-D33846C00F23}" srcOrd="6" destOrd="0" presId="urn:microsoft.com/office/officeart/2008/layout/LinedList"/>
    <dgm:cxn modelId="{899AD044-EFB4-4350-91D2-26D9613E1B91}" type="presParOf" srcId="{29218C35-C4B1-4EBC-B402-5FF4B3BDBC25}" destId="{102AD07B-DBC8-47BB-8A5A-7BC20CD6FBE7}" srcOrd="7" destOrd="0" presId="urn:microsoft.com/office/officeart/2008/layout/LinedList"/>
    <dgm:cxn modelId="{97153E00-B7F0-47D5-AFC2-F802B2348F37}" type="presParOf" srcId="{102AD07B-DBC8-47BB-8A5A-7BC20CD6FBE7}" destId="{B198418E-E3E8-4671-9958-9C87909C41E6}" srcOrd="0" destOrd="0" presId="urn:microsoft.com/office/officeart/2008/layout/LinedList"/>
    <dgm:cxn modelId="{55640874-D2CF-4E62-92F8-1A269E7EB4A7}" type="presParOf" srcId="{102AD07B-DBC8-47BB-8A5A-7BC20CD6FBE7}" destId="{0B27E708-A2EA-480A-BFB3-FC4CC6410E9D}" srcOrd="1" destOrd="0" presId="urn:microsoft.com/office/officeart/2008/layout/LinedList"/>
    <dgm:cxn modelId="{D3C05AFF-B72B-4562-BDF6-2B57AED17407}" type="presParOf" srcId="{102AD07B-DBC8-47BB-8A5A-7BC20CD6FBE7}" destId="{96506C98-FFF0-4345-8D1E-7C1DE7B556B6}" srcOrd="2" destOrd="0" presId="urn:microsoft.com/office/officeart/2008/layout/LinedList"/>
    <dgm:cxn modelId="{94C7FBC2-B3D9-448D-AD5A-8A97104AB6FE}" type="presParOf" srcId="{96506C98-FFF0-4345-8D1E-7C1DE7B556B6}" destId="{0EBE7447-65C1-4D43-816B-83DC53C26832}" srcOrd="0" destOrd="0" presId="urn:microsoft.com/office/officeart/2008/layout/LinedList"/>
    <dgm:cxn modelId="{A0865E7A-AB89-4F5D-ADB6-F21F9FE37BA4}" type="presParOf" srcId="{0EBE7447-65C1-4D43-816B-83DC53C26832}" destId="{D9B35690-873C-4A0F-BEDE-F83F1276E363}" srcOrd="0" destOrd="0" presId="urn:microsoft.com/office/officeart/2008/layout/LinedList"/>
    <dgm:cxn modelId="{A4DF64F0-0A6D-476E-B30A-2ED9D1EA053C}" type="presParOf" srcId="{0EBE7447-65C1-4D43-816B-83DC53C26832}" destId="{EB14C99A-8A29-4DEE-827F-30F59D500F93}" srcOrd="1" destOrd="0" presId="urn:microsoft.com/office/officeart/2008/layout/LinedList"/>
    <dgm:cxn modelId="{A079E414-D06E-40AF-9247-CBD4F82C3FC7}" type="presParOf" srcId="{0EBE7447-65C1-4D43-816B-83DC53C26832}" destId="{F3A5E178-1F9A-4D28-BEB4-C5C760FBBD9C}" srcOrd="2" destOrd="0" presId="urn:microsoft.com/office/officeart/2008/layout/LinedList"/>
    <dgm:cxn modelId="{C5DFB8F5-54D4-4412-A833-498E42A38E99}" type="presParOf" srcId="{F3A5E178-1F9A-4D28-BEB4-C5C760FBBD9C}" destId="{9B5EBA03-E672-4203-9648-CF27F3FAA1A5}" srcOrd="0" destOrd="0" presId="urn:microsoft.com/office/officeart/2008/layout/LinedList"/>
    <dgm:cxn modelId="{06C9704C-CE6D-4AB7-AE83-858319D137B5}" type="presParOf" srcId="{9B5EBA03-E672-4203-9648-CF27F3FAA1A5}" destId="{FB7FC963-F3DB-4C76-A053-EBB84433B3CA}" srcOrd="0" destOrd="0" presId="urn:microsoft.com/office/officeart/2008/layout/LinedList"/>
    <dgm:cxn modelId="{39AAC876-E5B1-4C1B-8AFA-F8B84EB53B9E}" type="presParOf" srcId="{9B5EBA03-E672-4203-9648-CF27F3FAA1A5}" destId="{E1BB0A2F-AF9D-4F8E-9BA3-F677C3CF1C86}" srcOrd="1" destOrd="0" presId="urn:microsoft.com/office/officeart/2008/layout/LinedList"/>
    <dgm:cxn modelId="{52B89791-1F2D-47BD-B9E0-DF63EA1E2B9D}" type="presParOf" srcId="{29218C35-C4B1-4EBC-B402-5FF4B3BDBC25}" destId="{600D49F3-1594-43C2-B075-D5EAEC507251}" srcOrd="8" destOrd="0" presId="urn:microsoft.com/office/officeart/2008/layout/LinedList"/>
    <dgm:cxn modelId="{4099FAC8-5757-485A-88D4-08611EFC09F4}" type="presParOf" srcId="{29218C35-C4B1-4EBC-B402-5FF4B3BDBC25}" destId="{5C2257A8-F8B6-402C-AB68-B1A884C2BB2C}" srcOrd="9"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3475236-B943-42EB-9030-C5026ECC5D68}" type="doc">
      <dgm:prSet loTypeId="urn:microsoft.com/office/officeart/2005/8/layout/lProcess3" loCatId="process" qsTypeId="urn:microsoft.com/office/officeart/2005/8/quickstyle/simple1" qsCatId="simple" csTypeId="urn:microsoft.com/office/officeart/2005/8/colors/accent1_2" csCatId="accent1" phldr="1"/>
      <dgm:spPr/>
      <dgm:t>
        <a:bodyPr/>
        <a:lstStyle/>
        <a:p>
          <a:endParaRPr lang="en-SG"/>
        </a:p>
      </dgm:t>
    </dgm:pt>
    <dgm:pt modelId="{16B02861-136D-4F82-8E40-D63AEAF18C48}">
      <dgm:prSet phldrT="[Text]" custT="1">
        <dgm:style>
          <a:lnRef idx="1">
            <a:schemeClr val="accent3"/>
          </a:lnRef>
          <a:fillRef idx="3">
            <a:schemeClr val="accent3"/>
          </a:fillRef>
          <a:effectRef idx="2">
            <a:schemeClr val="accent3"/>
          </a:effectRef>
          <a:fontRef idx="minor">
            <a:schemeClr val="lt1"/>
          </a:fontRef>
        </dgm:style>
      </dgm:prSet>
      <dgm:spPr/>
      <dgm:t>
        <a:bodyPr/>
        <a:lstStyle/>
        <a:p>
          <a:r>
            <a:rPr lang="en-SG" sz="1400" dirty="0"/>
            <a:t>BERTTopic</a:t>
          </a:r>
        </a:p>
      </dgm:t>
    </dgm:pt>
    <dgm:pt modelId="{9597C581-9735-4826-99A9-F4AB1394FF82}" type="parTrans" cxnId="{EE690D54-F96B-460A-A2D4-0ECE3D5E50F7}">
      <dgm:prSet/>
      <dgm:spPr/>
      <dgm:t>
        <a:bodyPr/>
        <a:lstStyle/>
        <a:p>
          <a:endParaRPr lang="en-SG"/>
        </a:p>
      </dgm:t>
    </dgm:pt>
    <dgm:pt modelId="{42BDF508-F4FB-4D4F-B105-227A30DB7C92}" type="sibTrans" cxnId="{EE690D54-F96B-460A-A2D4-0ECE3D5E50F7}">
      <dgm:prSet/>
      <dgm:spPr/>
      <dgm:t>
        <a:bodyPr/>
        <a:lstStyle/>
        <a:p>
          <a:endParaRPr lang="en-SG"/>
        </a:p>
      </dgm:t>
    </dgm:pt>
    <dgm:pt modelId="{A8AD12C7-2F29-4F70-987B-317D12D302E4}">
      <dgm:prSet phldrT="[Text]" custT="1"/>
      <dgm:spPr/>
      <dgm:t>
        <a:bodyPr/>
        <a:lstStyle/>
        <a:p>
          <a:r>
            <a:rPr lang="en-SG" sz="1400" b="0" dirty="0">
              <a:latin typeface="+mn-lt"/>
            </a:rPr>
            <a:t>A pretrained model from </a:t>
          </a:r>
          <a:r>
            <a:rPr lang="en-SG" sz="1400" b="1" dirty="0">
              <a:latin typeface="+mn-lt"/>
            </a:rPr>
            <a:t>HUGGINGFACE</a:t>
          </a:r>
        </a:p>
      </dgm:t>
    </dgm:pt>
    <dgm:pt modelId="{D41CE590-798C-43D6-814E-580DDBFEB050}" type="parTrans" cxnId="{BE5A562A-0009-4423-B71B-7DB8E7424A2D}">
      <dgm:prSet/>
      <dgm:spPr/>
      <dgm:t>
        <a:bodyPr/>
        <a:lstStyle/>
        <a:p>
          <a:endParaRPr lang="en-SG"/>
        </a:p>
      </dgm:t>
    </dgm:pt>
    <dgm:pt modelId="{961726DD-01C3-414B-B839-20C7BF1029B4}" type="sibTrans" cxnId="{BE5A562A-0009-4423-B71B-7DB8E7424A2D}">
      <dgm:prSet/>
      <dgm:spPr/>
      <dgm:t>
        <a:bodyPr/>
        <a:lstStyle/>
        <a:p>
          <a:endParaRPr lang="en-SG"/>
        </a:p>
      </dgm:t>
    </dgm:pt>
    <dgm:pt modelId="{493916D0-1255-449B-9B47-28E819F98A30}">
      <dgm:prSet phldrT="[Text]" custT="1">
        <dgm:style>
          <a:lnRef idx="1">
            <a:schemeClr val="accent3"/>
          </a:lnRef>
          <a:fillRef idx="3">
            <a:schemeClr val="accent3"/>
          </a:fillRef>
          <a:effectRef idx="2">
            <a:schemeClr val="accent3"/>
          </a:effectRef>
          <a:fontRef idx="minor">
            <a:schemeClr val="lt1"/>
          </a:fontRef>
        </dgm:style>
      </dgm:prSet>
      <dgm:spPr/>
      <dgm:t>
        <a:bodyPr/>
        <a:lstStyle/>
        <a:p>
          <a:r>
            <a:rPr lang="en-SG" sz="1400" dirty="0"/>
            <a:t>Gensim LDA </a:t>
          </a:r>
        </a:p>
      </dgm:t>
    </dgm:pt>
    <dgm:pt modelId="{2ACF5DDD-B204-4242-B833-09BA3021BEB5}" type="parTrans" cxnId="{55564AFA-4D50-488B-992B-090074431E03}">
      <dgm:prSet/>
      <dgm:spPr/>
      <dgm:t>
        <a:bodyPr/>
        <a:lstStyle/>
        <a:p>
          <a:endParaRPr lang="en-SG"/>
        </a:p>
      </dgm:t>
    </dgm:pt>
    <dgm:pt modelId="{A2A2957C-FCAC-4AC8-B37B-A3FC605C5BE2}" type="sibTrans" cxnId="{55564AFA-4D50-488B-992B-090074431E03}">
      <dgm:prSet/>
      <dgm:spPr/>
      <dgm:t>
        <a:bodyPr/>
        <a:lstStyle/>
        <a:p>
          <a:endParaRPr lang="en-SG"/>
        </a:p>
      </dgm:t>
    </dgm:pt>
    <dgm:pt modelId="{3272E898-88C4-48D9-B6C2-F4312CB98D34}">
      <dgm:prSet phldrT="[Text]" custT="1"/>
      <dgm:spPr/>
      <dgm:t>
        <a:bodyPr/>
        <a:lstStyle/>
        <a:p>
          <a:r>
            <a:rPr lang="en-SG" sz="1400" dirty="0"/>
            <a:t>The algorithm depends on the LDA technique</a:t>
          </a:r>
        </a:p>
      </dgm:t>
    </dgm:pt>
    <dgm:pt modelId="{9E098AC3-CC74-483F-8BEA-512AB818D897}" type="parTrans" cxnId="{B907A2C5-0CBE-4CA8-8892-C4C5861ADFB3}">
      <dgm:prSet/>
      <dgm:spPr/>
      <dgm:t>
        <a:bodyPr/>
        <a:lstStyle/>
        <a:p>
          <a:endParaRPr lang="en-SG"/>
        </a:p>
      </dgm:t>
    </dgm:pt>
    <dgm:pt modelId="{37946C99-C8A5-4088-B267-C08E9265B38F}" type="sibTrans" cxnId="{B907A2C5-0CBE-4CA8-8892-C4C5861ADFB3}">
      <dgm:prSet/>
      <dgm:spPr/>
      <dgm:t>
        <a:bodyPr/>
        <a:lstStyle/>
        <a:p>
          <a:endParaRPr lang="en-SG"/>
        </a:p>
      </dgm:t>
    </dgm:pt>
    <dgm:pt modelId="{90BEDCFE-109C-441B-9AA9-986329B17CE0}">
      <dgm:prSet phldrT="[Text]" custT="1">
        <dgm:style>
          <a:lnRef idx="1">
            <a:schemeClr val="accent3"/>
          </a:lnRef>
          <a:fillRef idx="2">
            <a:schemeClr val="accent3"/>
          </a:fillRef>
          <a:effectRef idx="1">
            <a:schemeClr val="accent3"/>
          </a:effectRef>
          <a:fontRef idx="minor">
            <a:schemeClr val="dk1"/>
          </a:fontRef>
        </dgm:style>
      </dgm:prSet>
      <dgm:spPr/>
      <dgm:t>
        <a:bodyPr/>
        <a:lstStyle/>
        <a:p>
          <a:r>
            <a:rPr lang="en-SG" sz="1400" dirty="0"/>
            <a:t>SklearnLDA</a:t>
          </a:r>
        </a:p>
      </dgm:t>
    </dgm:pt>
    <dgm:pt modelId="{DFACEF3C-31ED-47CF-8F1B-6FF4957EEE69}" type="parTrans" cxnId="{355A2D7A-F73F-43AF-A5C1-8FE8CF9CAA4E}">
      <dgm:prSet/>
      <dgm:spPr/>
      <dgm:t>
        <a:bodyPr/>
        <a:lstStyle/>
        <a:p>
          <a:endParaRPr lang="en-SG"/>
        </a:p>
      </dgm:t>
    </dgm:pt>
    <dgm:pt modelId="{F6EC1C60-3829-4C59-BE43-5A53A30DAC6F}" type="sibTrans" cxnId="{355A2D7A-F73F-43AF-A5C1-8FE8CF9CAA4E}">
      <dgm:prSet/>
      <dgm:spPr/>
      <dgm:t>
        <a:bodyPr/>
        <a:lstStyle/>
        <a:p>
          <a:endParaRPr lang="en-SG"/>
        </a:p>
      </dgm:t>
    </dgm:pt>
    <dgm:pt modelId="{357D9C5E-8C79-4AAF-A3F9-F20356A6AD10}">
      <dgm:prSet phldrT="[Text]" custT="1"/>
      <dgm:spPr/>
      <dgm:t>
        <a:bodyPr/>
        <a:lstStyle/>
        <a:p>
          <a:r>
            <a:rPr lang="en-SG" sz="1400" dirty="0"/>
            <a:t>Uses LDA technique from sklearn</a:t>
          </a:r>
        </a:p>
      </dgm:t>
    </dgm:pt>
    <dgm:pt modelId="{7062B91A-4F2B-4A02-917E-A811A91FA35A}" type="parTrans" cxnId="{C00E8C5E-A7AF-4462-A925-BFEEB9AF43DC}">
      <dgm:prSet/>
      <dgm:spPr/>
      <dgm:t>
        <a:bodyPr/>
        <a:lstStyle/>
        <a:p>
          <a:endParaRPr lang="en-SG"/>
        </a:p>
      </dgm:t>
    </dgm:pt>
    <dgm:pt modelId="{6C4DCA4E-6716-4D32-9E95-DB008D2E7993}" type="sibTrans" cxnId="{C00E8C5E-A7AF-4462-A925-BFEEB9AF43DC}">
      <dgm:prSet/>
      <dgm:spPr/>
      <dgm:t>
        <a:bodyPr/>
        <a:lstStyle/>
        <a:p>
          <a:endParaRPr lang="en-SG"/>
        </a:p>
      </dgm:t>
    </dgm:pt>
    <dgm:pt modelId="{0184BA8D-D705-4183-9AE5-F45FB02316C9}">
      <dgm:prSet phldrT="[Text]" custT="1">
        <dgm:style>
          <a:lnRef idx="1">
            <a:schemeClr val="accent3"/>
          </a:lnRef>
          <a:fillRef idx="3">
            <a:schemeClr val="accent3"/>
          </a:fillRef>
          <a:effectRef idx="2">
            <a:schemeClr val="accent3"/>
          </a:effectRef>
          <a:fontRef idx="minor">
            <a:schemeClr val="lt1"/>
          </a:fontRef>
        </dgm:style>
      </dgm:prSet>
      <dgm:spPr/>
      <dgm:t>
        <a:bodyPr/>
        <a:lstStyle/>
        <a:p>
          <a:r>
            <a:rPr lang="en-SG" sz="1400" dirty="0"/>
            <a:t>SklearnNMF</a:t>
          </a:r>
        </a:p>
      </dgm:t>
    </dgm:pt>
    <dgm:pt modelId="{09E12356-6960-4100-8672-A670E14B1F96}" type="parTrans" cxnId="{8F730E5B-5623-4900-9AF2-F8E8AD725A94}">
      <dgm:prSet/>
      <dgm:spPr/>
      <dgm:t>
        <a:bodyPr/>
        <a:lstStyle/>
        <a:p>
          <a:endParaRPr lang="en-SG"/>
        </a:p>
      </dgm:t>
    </dgm:pt>
    <dgm:pt modelId="{D9091B2B-37F7-4831-9472-9FEBFDC32847}" type="sibTrans" cxnId="{8F730E5B-5623-4900-9AF2-F8E8AD725A94}">
      <dgm:prSet/>
      <dgm:spPr/>
      <dgm:t>
        <a:bodyPr/>
        <a:lstStyle/>
        <a:p>
          <a:endParaRPr lang="en-SG"/>
        </a:p>
      </dgm:t>
    </dgm:pt>
    <dgm:pt modelId="{5A37E468-9C56-424D-94A5-1074429946F3}">
      <dgm:prSet phldrT="[Text]" custT="1">
        <dgm:style>
          <a:lnRef idx="1">
            <a:schemeClr val="accent3"/>
          </a:lnRef>
          <a:fillRef idx="3">
            <a:schemeClr val="accent3"/>
          </a:fillRef>
          <a:effectRef idx="2">
            <a:schemeClr val="accent3"/>
          </a:effectRef>
          <a:fontRef idx="minor">
            <a:schemeClr val="lt1"/>
          </a:fontRef>
        </dgm:style>
      </dgm:prSet>
      <dgm:spPr/>
      <dgm:t>
        <a:bodyPr/>
        <a:lstStyle/>
        <a:p>
          <a:r>
            <a:rPr lang="en-SG" sz="1400" dirty="0"/>
            <a:t>ClusterTransformer</a:t>
          </a:r>
        </a:p>
      </dgm:t>
    </dgm:pt>
    <dgm:pt modelId="{29E49CFB-909D-45BB-92E1-E73E079F9F92}" type="parTrans" cxnId="{42537810-ACA5-4920-99AB-56ED64972EE6}">
      <dgm:prSet/>
      <dgm:spPr/>
      <dgm:t>
        <a:bodyPr/>
        <a:lstStyle/>
        <a:p>
          <a:endParaRPr lang="en-SG"/>
        </a:p>
      </dgm:t>
    </dgm:pt>
    <dgm:pt modelId="{E0CF0A27-268F-4C65-B559-43661CBAACD8}" type="sibTrans" cxnId="{42537810-ACA5-4920-99AB-56ED64972EE6}">
      <dgm:prSet/>
      <dgm:spPr/>
      <dgm:t>
        <a:bodyPr/>
        <a:lstStyle/>
        <a:p>
          <a:endParaRPr lang="en-SG"/>
        </a:p>
      </dgm:t>
    </dgm:pt>
    <dgm:pt modelId="{79312E55-3A46-4EDD-A182-24859711994C}">
      <dgm:prSet phldrT="[Text]" custT="1"/>
      <dgm:spPr/>
      <dgm:t>
        <a:bodyPr/>
        <a:lstStyle/>
        <a:p>
          <a:r>
            <a:rPr lang="en-SG" sz="1400" dirty="0"/>
            <a:t>Similar to LDA but uses truncated SVD technique</a:t>
          </a:r>
        </a:p>
      </dgm:t>
    </dgm:pt>
    <dgm:pt modelId="{2C72C930-BE0D-44B1-BED3-ED9254AAF2BA}" type="parTrans" cxnId="{457376B8-C219-485E-81D0-659D1085CA52}">
      <dgm:prSet/>
      <dgm:spPr/>
      <dgm:t>
        <a:bodyPr/>
        <a:lstStyle/>
        <a:p>
          <a:endParaRPr lang="en-SG"/>
        </a:p>
      </dgm:t>
    </dgm:pt>
    <dgm:pt modelId="{E24FA470-8850-4BBB-894F-92BC68523F9B}" type="sibTrans" cxnId="{457376B8-C219-485E-81D0-659D1085CA52}">
      <dgm:prSet/>
      <dgm:spPr/>
      <dgm:t>
        <a:bodyPr/>
        <a:lstStyle/>
        <a:p>
          <a:endParaRPr lang="en-SG"/>
        </a:p>
      </dgm:t>
    </dgm:pt>
    <dgm:pt modelId="{516262FF-000F-4B99-8C9B-35941617B019}">
      <dgm:prSet phldrT="[Text]" custT="1"/>
      <dgm:spPr/>
      <dgm:t>
        <a:bodyPr/>
        <a:lstStyle/>
        <a:p>
          <a:r>
            <a:rPr lang="en-SG" sz="1400" dirty="0"/>
            <a:t>An unsupervised model depends on other pretrained models.</a:t>
          </a:r>
        </a:p>
      </dgm:t>
    </dgm:pt>
    <dgm:pt modelId="{8E39C860-B80C-4AEF-86FF-7CBD5D6BBC9C}" type="parTrans" cxnId="{F199CFBF-22F0-44EB-BFD7-9E38E54AE8D7}">
      <dgm:prSet/>
      <dgm:spPr/>
      <dgm:t>
        <a:bodyPr/>
        <a:lstStyle/>
        <a:p>
          <a:endParaRPr lang="en-SG"/>
        </a:p>
      </dgm:t>
    </dgm:pt>
    <dgm:pt modelId="{868BE769-C54D-4296-8742-0BD2F45335E5}" type="sibTrans" cxnId="{F199CFBF-22F0-44EB-BFD7-9E38E54AE8D7}">
      <dgm:prSet/>
      <dgm:spPr/>
      <dgm:t>
        <a:bodyPr/>
        <a:lstStyle/>
        <a:p>
          <a:endParaRPr lang="en-SG"/>
        </a:p>
      </dgm:t>
    </dgm:pt>
    <dgm:pt modelId="{8492A12B-832F-4AF6-A705-81F9A37791E4}" type="pres">
      <dgm:prSet presAssocID="{B3475236-B943-42EB-9030-C5026ECC5D68}" presName="Name0" presStyleCnt="0">
        <dgm:presLayoutVars>
          <dgm:chPref val="3"/>
          <dgm:dir/>
          <dgm:animLvl val="lvl"/>
          <dgm:resizeHandles/>
        </dgm:presLayoutVars>
      </dgm:prSet>
      <dgm:spPr/>
    </dgm:pt>
    <dgm:pt modelId="{BAE691B6-3F2F-4EA7-B812-10BC87FCC91A}" type="pres">
      <dgm:prSet presAssocID="{16B02861-136D-4F82-8E40-D63AEAF18C48}" presName="horFlow" presStyleCnt="0"/>
      <dgm:spPr/>
    </dgm:pt>
    <dgm:pt modelId="{FA041299-C5FE-4EF8-9EBD-50D8E13C9E40}" type="pres">
      <dgm:prSet presAssocID="{16B02861-136D-4F82-8E40-D63AEAF18C48}" presName="bigChev" presStyleLbl="node1" presStyleIdx="0" presStyleCnt="5" custScaleX="134348" custLinFactNeighborX="22261" custLinFactNeighborY="-40494"/>
      <dgm:spPr/>
    </dgm:pt>
    <dgm:pt modelId="{2170F70B-4584-4AFD-B175-35E135F67E11}" type="pres">
      <dgm:prSet presAssocID="{D41CE590-798C-43D6-814E-580DDBFEB050}" presName="parTrans" presStyleCnt="0"/>
      <dgm:spPr/>
    </dgm:pt>
    <dgm:pt modelId="{4C73F09A-3EE9-4575-8D3D-CDBD0725A8B8}" type="pres">
      <dgm:prSet presAssocID="{A8AD12C7-2F29-4F70-987B-317D12D302E4}" presName="node" presStyleLbl="alignAccFollowNode1" presStyleIdx="0" presStyleCnt="5" custScaleX="357207" custLinFactNeighborX="5824" custLinFactNeighborY="-48788">
        <dgm:presLayoutVars>
          <dgm:bulletEnabled val="1"/>
        </dgm:presLayoutVars>
      </dgm:prSet>
      <dgm:spPr/>
    </dgm:pt>
    <dgm:pt modelId="{2949727C-D09D-42B8-ACEC-178E336E2D41}" type="pres">
      <dgm:prSet presAssocID="{16B02861-136D-4F82-8E40-D63AEAF18C48}" presName="vSp" presStyleCnt="0"/>
      <dgm:spPr/>
    </dgm:pt>
    <dgm:pt modelId="{EF2725FB-9F16-4127-849F-2E21973B46DB}" type="pres">
      <dgm:prSet presAssocID="{493916D0-1255-449B-9B47-28E819F98A30}" presName="horFlow" presStyleCnt="0"/>
      <dgm:spPr/>
    </dgm:pt>
    <dgm:pt modelId="{89FA3434-2062-4BC8-9E82-757FA97B5EA0}" type="pres">
      <dgm:prSet presAssocID="{493916D0-1255-449B-9B47-28E819F98A30}" presName="bigChev" presStyleLbl="node1" presStyleIdx="1" presStyleCnt="5" custScaleX="158488"/>
      <dgm:spPr/>
    </dgm:pt>
    <dgm:pt modelId="{3E7B5C3A-CA05-47B8-9369-D6CF6B88BA01}" type="pres">
      <dgm:prSet presAssocID="{9E098AC3-CC74-483F-8BEA-512AB818D897}" presName="parTrans" presStyleCnt="0"/>
      <dgm:spPr/>
    </dgm:pt>
    <dgm:pt modelId="{0B8A6A90-98A9-4127-9832-0D3586B56FD6}" type="pres">
      <dgm:prSet presAssocID="{3272E898-88C4-48D9-B6C2-F4312CB98D34}" presName="node" presStyleLbl="alignAccFollowNode1" presStyleIdx="1" presStyleCnt="5" custScaleX="333174">
        <dgm:presLayoutVars>
          <dgm:bulletEnabled val="1"/>
        </dgm:presLayoutVars>
      </dgm:prSet>
      <dgm:spPr/>
    </dgm:pt>
    <dgm:pt modelId="{DDC3013A-0D20-4402-BBD9-DE1A52112380}" type="pres">
      <dgm:prSet presAssocID="{493916D0-1255-449B-9B47-28E819F98A30}" presName="vSp" presStyleCnt="0"/>
      <dgm:spPr/>
    </dgm:pt>
    <dgm:pt modelId="{D9D97D3D-F96A-4964-A88A-7C3D193B8AB4}" type="pres">
      <dgm:prSet presAssocID="{90BEDCFE-109C-441B-9AA9-986329B17CE0}" presName="horFlow" presStyleCnt="0"/>
      <dgm:spPr/>
    </dgm:pt>
    <dgm:pt modelId="{B0127067-B32E-4B31-913E-B2A1F900CAC8}" type="pres">
      <dgm:prSet presAssocID="{90BEDCFE-109C-441B-9AA9-986329B17CE0}" presName="bigChev" presStyleLbl="node1" presStyleIdx="2" presStyleCnt="5" custScaleX="156436"/>
      <dgm:spPr/>
    </dgm:pt>
    <dgm:pt modelId="{D8213379-B1D1-44B1-BF10-C341D7AB1178}" type="pres">
      <dgm:prSet presAssocID="{7062B91A-4F2B-4A02-917E-A811A91FA35A}" presName="parTrans" presStyleCnt="0"/>
      <dgm:spPr/>
    </dgm:pt>
    <dgm:pt modelId="{60C4116F-D1AB-4965-B137-6B7BA57FF3FD}" type="pres">
      <dgm:prSet presAssocID="{357D9C5E-8C79-4AAF-A3F9-F20356A6AD10}" presName="node" presStyleLbl="alignAccFollowNode1" presStyleIdx="2" presStyleCnt="5" custScaleX="331859">
        <dgm:presLayoutVars>
          <dgm:bulletEnabled val="1"/>
        </dgm:presLayoutVars>
      </dgm:prSet>
      <dgm:spPr/>
    </dgm:pt>
    <dgm:pt modelId="{DB2081A4-5C64-4FF0-9446-E48A166D83C2}" type="pres">
      <dgm:prSet presAssocID="{90BEDCFE-109C-441B-9AA9-986329B17CE0}" presName="vSp" presStyleCnt="0"/>
      <dgm:spPr/>
    </dgm:pt>
    <dgm:pt modelId="{2C412400-008A-48F3-BEA6-1FF467BFF16D}" type="pres">
      <dgm:prSet presAssocID="{0184BA8D-D705-4183-9AE5-F45FB02316C9}" presName="horFlow" presStyleCnt="0"/>
      <dgm:spPr/>
    </dgm:pt>
    <dgm:pt modelId="{379E0AC3-4376-448D-BB31-C9BF9E9F4A49}" type="pres">
      <dgm:prSet presAssocID="{0184BA8D-D705-4183-9AE5-F45FB02316C9}" presName="bigChev" presStyleLbl="node1" presStyleIdx="3" presStyleCnt="5" custScaleX="157520" custLinFactNeighborX="-1563" custLinFactNeighborY="-426"/>
      <dgm:spPr/>
    </dgm:pt>
    <dgm:pt modelId="{2B4A66AB-E844-43A9-B18E-369752BE0FB7}" type="pres">
      <dgm:prSet presAssocID="{2C72C930-BE0D-44B1-BED3-ED9254AAF2BA}" presName="parTrans" presStyleCnt="0"/>
      <dgm:spPr/>
    </dgm:pt>
    <dgm:pt modelId="{B216747F-E320-472F-A8BF-A5FE93064B5F}" type="pres">
      <dgm:prSet presAssocID="{79312E55-3A46-4EDD-A182-24859711994C}" presName="node" presStyleLbl="alignAccFollowNode1" presStyleIdx="3" presStyleCnt="5" custScaleX="333666">
        <dgm:presLayoutVars>
          <dgm:bulletEnabled val="1"/>
        </dgm:presLayoutVars>
      </dgm:prSet>
      <dgm:spPr/>
    </dgm:pt>
    <dgm:pt modelId="{7C88D86C-7416-4902-A2A9-6EA7AEAABE9E}" type="pres">
      <dgm:prSet presAssocID="{0184BA8D-D705-4183-9AE5-F45FB02316C9}" presName="vSp" presStyleCnt="0"/>
      <dgm:spPr/>
    </dgm:pt>
    <dgm:pt modelId="{C7D25428-6DE9-4437-8215-B8BECB4F7DD0}" type="pres">
      <dgm:prSet presAssocID="{5A37E468-9C56-424D-94A5-1074429946F3}" presName="horFlow" presStyleCnt="0"/>
      <dgm:spPr/>
    </dgm:pt>
    <dgm:pt modelId="{833C4942-9BBB-4080-879B-A6130F08E5ED}" type="pres">
      <dgm:prSet presAssocID="{5A37E468-9C56-424D-94A5-1074429946F3}" presName="bigChev" presStyleLbl="node1" presStyleIdx="4" presStyleCnt="5" custScaleX="172791"/>
      <dgm:spPr/>
    </dgm:pt>
    <dgm:pt modelId="{CBC8CDF6-04FE-4A30-A1A2-9A6708FA096A}" type="pres">
      <dgm:prSet presAssocID="{8E39C860-B80C-4AEF-86FF-7CBD5D6BBC9C}" presName="parTrans" presStyleCnt="0"/>
      <dgm:spPr/>
    </dgm:pt>
    <dgm:pt modelId="{D2555CFB-5B3B-40BC-A098-B7873F1399FA}" type="pres">
      <dgm:prSet presAssocID="{516262FF-000F-4B99-8C9B-35941617B019}" presName="node" presStyleLbl="alignAccFollowNode1" presStyleIdx="4" presStyleCnt="5" custScaleX="318261">
        <dgm:presLayoutVars>
          <dgm:bulletEnabled val="1"/>
        </dgm:presLayoutVars>
      </dgm:prSet>
      <dgm:spPr/>
    </dgm:pt>
  </dgm:ptLst>
  <dgm:cxnLst>
    <dgm:cxn modelId="{0B31F603-2616-4A3D-9377-FD85A7793911}" type="presOf" srcId="{493916D0-1255-449B-9B47-28E819F98A30}" destId="{89FA3434-2062-4BC8-9E82-757FA97B5EA0}" srcOrd="0" destOrd="0" presId="urn:microsoft.com/office/officeart/2005/8/layout/lProcess3"/>
    <dgm:cxn modelId="{42537810-ACA5-4920-99AB-56ED64972EE6}" srcId="{B3475236-B943-42EB-9030-C5026ECC5D68}" destId="{5A37E468-9C56-424D-94A5-1074429946F3}" srcOrd="4" destOrd="0" parTransId="{29E49CFB-909D-45BB-92E1-E73E079F9F92}" sibTransId="{E0CF0A27-268F-4C65-B559-43661CBAACD8}"/>
    <dgm:cxn modelId="{F9EC6513-4007-4B26-9ADC-E0E78E457F3D}" type="presOf" srcId="{516262FF-000F-4B99-8C9B-35941617B019}" destId="{D2555CFB-5B3B-40BC-A098-B7873F1399FA}" srcOrd="0" destOrd="0" presId="urn:microsoft.com/office/officeart/2005/8/layout/lProcess3"/>
    <dgm:cxn modelId="{BE5A562A-0009-4423-B71B-7DB8E7424A2D}" srcId="{16B02861-136D-4F82-8E40-D63AEAF18C48}" destId="{A8AD12C7-2F29-4F70-987B-317D12D302E4}" srcOrd="0" destOrd="0" parTransId="{D41CE590-798C-43D6-814E-580DDBFEB050}" sibTransId="{961726DD-01C3-414B-B839-20C7BF1029B4}"/>
    <dgm:cxn modelId="{AF85BB3F-CED9-4AF9-8CD0-18980628ED4E}" type="presOf" srcId="{A8AD12C7-2F29-4F70-987B-317D12D302E4}" destId="{4C73F09A-3EE9-4575-8D3D-CDBD0725A8B8}" srcOrd="0" destOrd="0" presId="urn:microsoft.com/office/officeart/2005/8/layout/lProcess3"/>
    <dgm:cxn modelId="{8F730E5B-5623-4900-9AF2-F8E8AD725A94}" srcId="{B3475236-B943-42EB-9030-C5026ECC5D68}" destId="{0184BA8D-D705-4183-9AE5-F45FB02316C9}" srcOrd="3" destOrd="0" parTransId="{09E12356-6960-4100-8672-A670E14B1F96}" sibTransId="{D9091B2B-37F7-4831-9472-9FEBFDC32847}"/>
    <dgm:cxn modelId="{C00E8C5E-A7AF-4462-A925-BFEEB9AF43DC}" srcId="{90BEDCFE-109C-441B-9AA9-986329B17CE0}" destId="{357D9C5E-8C79-4AAF-A3F9-F20356A6AD10}" srcOrd="0" destOrd="0" parTransId="{7062B91A-4F2B-4A02-917E-A811A91FA35A}" sibTransId="{6C4DCA4E-6716-4D32-9E95-DB008D2E7993}"/>
    <dgm:cxn modelId="{5CB44C47-6B4A-41B6-ACA9-5E7BBF82C76F}" type="presOf" srcId="{B3475236-B943-42EB-9030-C5026ECC5D68}" destId="{8492A12B-832F-4AF6-A705-81F9A37791E4}" srcOrd="0" destOrd="0" presId="urn:microsoft.com/office/officeart/2005/8/layout/lProcess3"/>
    <dgm:cxn modelId="{8B580752-9C4B-4FA5-9EB8-2821A3FE2222}" type="presOf" srcId="{357D9C5E-8C79-4AAF-A3F9-F20356A6AD10}" destId="{60C4116F-D1AB-4965-B137-6B7BA57FF3FD}" srcOrd="0" destOrd="0" presId="urn:microsoft.com/office/officeart/2005/8/layout/lProcess3"/>
    <dgm:cxn modelId="{EE690D54-F96B-460A-A2D4-0ECE3D5E50F7}" srcId="{B3475236-B943-42EB-9030-C5026ECC5D68}" destId="{16B02861-136D-4F82-8E40-D63AEAF18C48}" srcOrd="0" destOrd="0" parTransId="{9597C581-9735-4826-99A9-F4AB1394FF82}" sibTransId="{42BDF508-F4FB-4D4F-B105-227A30DB7C92}"/>
    <dgm:cxn modelId="{292D3178-027E-4356-A84B-1BF4AFC9F73C}" type="presOf" srcId="{0184BA8D-D705-4183-9AE5-F45FB02316C9}" destId="{379E0AC3-4376-448D-BB31-C9BF9E9F4A49}" srcOrd="0" destOrd="0" presId="urn:microsoft.com/office/officeart/2005/8/layout/lProcess3"/>
    <dgm:cxn modelId="{355A2D7A-F73F-43AF-A5C1-8FE8CF9CAA4E}" srcId="{B3475236-B943-42EB-9030-C5026ECC5D68}" destId="{90BEDCFE-109C-441B-9AA9-986329B17CE0}" srcOrd="2" destOrd="0" parTransId="{DFACEF3C-31ED-47CF-8F1B-6FF4957EEE69}" sibTransId="{F6EC1C60-3829-4C59-BE43-5A53A30DAC6F}"/>
    <dgm:cxn modelId="{F626B880-EA81-4A60-A7DA-90F34F444342}" type="presOf" srcId="{3272E898-88C4-48D9-B6C2-F4312CB98D34}" destId="{0B8A6A90-98A9-4127-9832-0D3586B56FD6}" srcOrd="0" destOrd="0" presId="urn:microsoft.com/office/officeart/2005/8/layout/lProcess3"/>
    <dgm:cxn modelId="{094C3EA3-0051-4F3B-9DE4-7220108ABDF3}" type="presOf" srcId="{90BEDCFE-109C-441B-9AA9-986329B17CE0}" destId="{B0127067-B32E-4B31-913E-B2A1F900CAC8}" srcOrd="0" destOrd="0" presId="urn:microsoft.com/office/officeart/2005/8/layout/lProcess3"/>
    <dgm:cxn modelId="{643963A7-4078-49F4-B1AC-0A5B75039C5A}" type="presOf" srcId="{5A37E468-9C56-424D-94A5-1074429946F3}" destId="{833C4942-9BBB-4080-879B-A6130F08E5ED}" srcOrd="0" destOrd="0" presId="urn:microsoft.com/office/officeart/2005/8/layout/lProcess3"/>
    <dgm:cxn modelId="{25073DAE-F0AD-4F98-B94F-15520E319712}" type="presOf" srcId="{79312E55-3A46-4EDD-A182-24859711994C}" destId="{B216747F-E320-472F-A8BF-A5FE93064B5F}" srcOrd="0" destOrd="0" presId="urn:microsoft.com/office/officeart/2005/8/layout/lProcess3"/>
    <dgm:cxn modelId="{457376B8-C219-485E-81D0-659D1085CA52}" srcId="{0184BA8D-D705-4183-9AE5-F45FB02316C9}" destId="{79312E55-3A46-4EDD-A182-24859711994C}" srcOrd="0" destOrd="0" parTransId="{2C72C930-BE0D-44B1-BED3-ED9254AAF2BA}" sibTransId="{E24FA470-8850-4BBB-894F-92BC68523F9B}"/>
    <dgm:cxn modelId="{F199CFBF-22F0-44EB-BFD7-9E38E54AE8D7}" srcId="{5A37E468-9C56-424D-94A5-1074429946F3}" destId="{516262FF-000F-4B99-8C9B-35941617B019}" srcOrd="0" destOrd="0" parTransId="{8E39C860-B80C-4AEF-86FF-7CBD5D6BBC9C}" sibTransId="{868BE769-C54D-4296-8742-0BD2F45335E5}"/>
    <dgm:cxn modelId="{B907A2C5-0CBE-4CA8-8892-C4C5861ADFB3}" srcId="{493916D0-1255-449B-9B47-28E819F98A30}" destId="{3272E898-88C4-48D9-B6C2-F4312CB98D34}" srcOrd="0" destOrd="0" parTransId="{9E098AC3-CC74-483F-8BEA-512AB818D897}" sibTransId="{37946C99-C8A5-4088-B267-C08E9265B38F}"/>
    <dgm:cxn modelId="{4597E2D0-6197-410B-9034-65685663D1C1}" type="presOf" srcId="{16B02861-136D-4F82-8E40-D63AEAF18C48}" destId="{FA041299-C5FE-4EF8-9EBD-50D8E13C9E40}" srcOrd="0" destOrd="0" presId="urn:microsoft.com/office/officeart/2005/8/layout/lProcess3"/>
    <dgm:cxn modelId="{55564AFA-4D50-488B-992B-090074431E03}" srcId="{B3475236-B943-42EB-9030-C5026ECC5D68}" destId="{493916D0-1255-449B-9B47-28E819F98A30}" srcOrd="1" destOrd="0" parTransId="{2ACF5DDD-B204-4242-B833-09BA3021BEB5}" sibTransId="{A2A2957C-FCAC-4AC8-B37B-A3FC605C5BE2}"/>
    <dgm:cxn modelId="{C3DD6D55-BD32-4835-9822-C8280D9FC617}" type="presParOf" srcId="{8492A12B-832F-4AF6-A705-81F9A37791E4}" destId="{BAE691B6-3F2F-4EA7-B812-10BC87FCC91A}" srcOrd="0" destOrd="0" presId="urn:microsoft.com/office/officeart/2005/8/layout/lProcess3"/>
    <dgm:cxn modelId="{54418065-2137-4140-B276-826B129981DA}" type="presParOf" srcId="{BAE691B6-3F2F-4EA7-B812-10BC87FCC91A}" destId="{FA041299-C5FE-4EF8-9EBD-50D8E13C9E40}" srcOrd="0" destOrd="0" presId="urn:microsoft.com/office/officeart/2005/8/layout/lProcess3"/>
    <dgm:cxn modelId="{88E68CB3-D2BF-4F4F-BAFF-591446E7DD10}" type="presParOf" srcId="{BAE691B6-3F2F-4EA7-B812-10BC87FCC91A}" destId="{2170F70B-4584-4AFD-B175-35E135F67E11}" srcOrd="1" destOrd="0" presId="urn:microsoft.com/office/officeart/2005/8/layout/lProcess3"/>
    <dgm:cxn modelId="{B497791C-E914-44D8-BBE8-E46D0FAA08C2}" type="presParOf" srcId="{BAE691B6-3F2F-4EA7-B812-10BC87FCC91A}" destId="{4C73F09A-3EE9-4575-8D3D-CDBD0725A8B8}" srcOrd="2" destOrd="0" presId="urn:microsoft.com/office/officeart/2005/8/layout/lProcess3"/>
    <dgm:cxn modelId="{E165D0CA-0D5F-4531-8AA1-A5CEE877408F}" type="presParOf" srcId="{8492A12B-832F-4AF6-A705-81F9A37791E4}" destId="{2949727C-D09D-42B8-ACEC-178E336E2D41}" srcOrd="1" destOrd="0" presId="urn:microsoft.com/office/officeart/2005/8/layout/lProcess3"/>
    <dgm:cxn modelId="{6FE5F3B2-3FCD-48D4-A146-5A7687FDD2FE}" type="presParOf" srcId="{8492A12B-832F-4AF6-A705-81F9A37791E4}" destId="{EF2725FB-9F16-4127-849F-2E21973B46DB}" srcOrd="2" destOrd="0" presId="urn:microsoft.com/office/officeart/2005/8/layout/lProcess3"/>
    <dgm:cxn modelId="{CF333E6F-2F9C-4884-8FF0-8B9A4A6CE8ED}" type="presParOf" srcId="{EF2725FB-9F16-4127-849F-2E21973B46DB}" destId="{89FA3434-2062-4BC8-9E82-757FA97B5EA0}" srcOrd="0" destOrd="0" presId="urn:microsoft.com/office/officeart/2005/8/layout/lProcess3"/>
    <dgm:cxn modelId="{5A22034A-3848-4D2C-961B-AA123693CD4D}" type="presParOf" srcId="{EF2725FB-9F16-4127-849F-2E21973B46DB}" destId="{3E7B5C3A-CA05-47B8-9369-D6CF6B88BA01}" srcOrd="1" destOrd="0" presId="urn:microsoft.com/office/officeart/2005/8/layout/lProcess3"/>
    <dgm:cxn modelId="{788EFB36-3166-4512-9A76-E1A69B212CD8}" type="presParOf" srcId="{EF2725FB-9F16-4127-849F-2E21973B46DB}" destId="{0B8A6A90-98A9-4127-9832-0D3586B56FD6}" srcOrd="2" destOrd="0" presId="urn:microsoft.com/office/officeart/2005/8/layout/lProcess3"/>
    <dgm:cxn modelId="{9FDB6257-80CA-4BE8-9740-106B49598BD8}" type="presParOf" srcId="{8492A12B-832F-4AF6-A705-81F9A37791E4}" destId="{DDC3013A-0D20-4402-BBD9-DE1A52112380}" srcOrd="3" destOrd="0" presId="urn:microsoft.com/office/officeart/2005/8/layout/lProcess3"/>
    <dgm:cxn modelId="{E0C2BC72-393E-49A2-AD75-1A4CA147AF76}" type="presParOf" srcId="{8492A12B-832F-4AF6-A705-81F9A37791E4}" destId="{D9D97D3D-F96A-4964-A88A-7C3D193B8AB4}" srcOrd="4" destOrd="0" presId="urn:microsoft.com/office/officeart/2005/8/layout/lProcess3"/>
    <dgm:cxn modelId="{DE6B1491-5EC8-4CCE-A40B-A16AF64A4C6C}" type="presParOf" srcId="{D9D97D3D-F96A-4964-A88A-7C3D193B8AB4}" destId="{B0127067-B32E-4B31-913E-B2A1F900CAC8}" srcOrd="0" destOrd="0" presId="urn:microsoft.com/office/officeart/2005/8/layout/lProcess3"/>
    <dgm:cxn modelId="{7A2EB4F9-0714-40F3-96DD-7FE89B0ED8D4}" type="presParOf" srcId="{D9D97D3D-F96A-4964-A88A-7C3D193B8AB4}" destId="{D8213379-B1D1-44B1-BF10-C341D7AB1178}" srcOrd="1" destOrd="0" presId="urn:microsoft.com/office/officeart/2005/8/layout/lProcess3"/>
    <dgm:cxn modelId="{91DEE8AC-5E5B-404A-B953-29DBFD18284E}" type="presParOf" srcId="{D9D97D3D-F96A-4964-A88A-7C3D193B8AB4}" destId="{60C4116F-D1AB-4965-B137-6B7BA57FF3FD}" srcOrd="2" destOrd="0" presId="urn:microsoft.com/office/officeart/2005/8/layout/lProcess3"/>
    <dgm:cxn modelId="{AD09A4AB-4B6D-4386-A844-645E40592D1C}" type="presParOf" srcId="{8492A12B-832F-4AF6-A705-81F9A37791E4}" destId="{DB2081A4-5C64-4FF0-9446-E48A166D83C2}" srcOrd="5" destOrd="0" presId="urn:microsoft.com/office/officeart/2005/8/layout/lProcess3"/>
    <dgm:cxn modelId="{701CBA0C-F7F2-456E-9DBC-01FDF9C55E96}" type="presParOf" srcId="{8492A12B-832F-4AF6-A705-81F9A37791E4}" destId="{2C412400-008A-48F3-BEA6-1FF467BFF16D}" srcOrd="6" destOrd="0" presId="urn:microsoft.com/office/officeart/2005/8/layout/lProcess3"/>
    <dgm:cxn modelId="{5BAF67F8-1DEF-4A67-967D-D692A9733A0D}" type="presParOf" srcId="{2C412400-008A-48F3-BEA6-1FF467BFF16D}" destId="{379E0AC3-4376-448D-BB31-C9BF9E9F4A49}" srcOrd="0" destOrd="0" presId="urn:microsoft.com/office/officeart/2005/8/layout/lProcess3"/>
    <dgm:cxn modelId="{3EB23BED-0406-48E8-9047-67D3A919E78A}" type="presParOf" srcId="{2C412400-008A-48F3-BEA6-1FF467BFF16D}" destId="{2B4A66AB-E844-43A9-B18E-369752BE0FB7}" srcOrd="1" destOrd="0" presId="urn:microsoft.com/office/officeart/2005/8/layout/lProcess3"/>
    <dgm:cxn modelId="{96E0D22A-A5C0-4EFC-AA27-95F5764C62A2}" type="presParOf" srcId="{2C412400-008A-48F3-BEA6-1FF467BFF16D}" destId="{B216747F-E320-472F-A8BF-A5FE93064B5F}" srcOrd="2" destOrd="0" presId="urn:microsoft.com/office/officeart/2005/8/layout/lProcess3"/>
    <dgm:cxn modelId="{88311C36-ED26-4120-A33F-A728141E211E}" type="presParOf" srcId="{8492A12B-832F-4AF6-A705-81F9A37791E4}" destId="{7C88D86C-7416-4902-A2A9-6EA7AEAABE9E}" srcOrd="7" destOrd="0" presId="urn:microsoft.com/office/officeart/2005/8/layout/lProcess3"/>
    <dgm:cxn modelId="{0E991094-9B33-43B1-B6BF-FBA4E88C6645}" type="presParOf" srcId="{8492A12B-832F-4AF6-A705-81F9A37791E4}" destId="{C7D25428-6DE9-4437-8215-B8BECB4F7DD0}" srcOrd="8" destOrd="0" presId="urn:microsoft.com/office/officeart/2005/8/layout/lProcess3"/>
    <dgm:cxn modelId="{806FEA6A-1BCE-4DBE-A643-77DB265B41F9}" type="presParOf" srcId="{C7D25428-6DE9-4437-8215-B8BECB4F7DD0}" destId="{833C4942-9BBB-4080-879B-A6130F08E5ED}" srcOrd="0" destOrd="0" presId="urn:microsoft.com/office/officeart/2005/8/layout/lProcess3"/>
    <dgm:cxn modelId="{21E87A34-BAC0-47AD-B73B-A1D96B405E79}" type="presParOf" srcId="{C7D25428-6DE9-4437-8215-B8BECB4F7DD0}" destId="{CBC8CDF6-04FE-4A30-A1A2-9A6708FA096A}" srcOrd="1" destOrd="0" presId="urn:microsoft.com/office/officeart/2005/8/layout/lProcess3"/>
    <dgm:cxn modelId="{B01D3D32-EB62-485B-8BD9-4D7C39C8BFDB}" type="presParOf" srcId="{C7D25428-6DE9-4437-8215-B8BECB4F7DD0}" destId="{D2555CFB-5B3B-40BC-A098-B7873F1399FA}" srcOrd="2" destOrd="0" presId="urn:microsoft.com/office/officeart/2005/8/layout/l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BACD31C-A239-46C8-B4BD-2D1C00BF0AA7}" type="doc">
      <dgm:prSet loTypeId="urn:microsoft.com/office/officeart/2009/3/layout/RandomtoResultProcess" loCatId="process" qsTypeId="urn:microsoft.com/office/officeart/2005/8/quickstyle/simple1" qsCatId="simple" csTypeId="urn:microsoft.com/office/officeart/2005/8/colors/accent3_4" csCatId="accent3" phldr="1"/>
      <dgm:spPr/>
    </dgm:pt>
    <dgm:pt modelId="{6C0F3046-C927-4756-A70E-2029FBFE2C61}">
      <dgm:prSet phldrT="[Text]"/>
      <dgm:spPr/>
      <dgm:t>
        <a:bodyPr/>
        <a:lstStyle/>
        <a:p>
          <a:r>
            <a:rPr lang="en-SG" dirty="0"/>
            <a:t>Raw Data</a:t>
          </a:r>
        </a:p>
      </dgm:t>
    </dgm:pt>
    <dgm:pt modelId="{08F40977-8278-42AA-9224-318828203784}" type="parTrans" cxnId="{6DEA3A1D-9EEF-42D8-AD75-E0B59046B133}">
      <dgm:prSet/>
      <dgm:spPr/>
      <dgm:t>
        <a:bodyPr/>
        <a:lstStyle/>
        <a:p>
          <a:endParaRPr lang="en-SG"/>
        </a:p>
      </dgm:t>
    </dgm:pt>
    <dgm:pt modelId="{1B75BE84-5B3F-4039-BE2B-DB68CBB0586B}" type="sibTrans" cxnId="{6DEA3A1D-9EEF-42D8-AD75-E0B59046B133}">
      <dgm:prSet/>
      <dgm:spPr/>
      <dgm:t>
        <a:bodyPr/>
        <a:lstStyle/>
        <a:p>
          <a:endParaRPr lang="en-SG"/>
        </a:p>
      </dgm:t>
    </dgm:pt>
    <dgm:pt modelId="{17932E57-4432-4B7D-B0A8-D0D7F294AA18}">
      <dgm:prSet phldrT="[Text]"/>
      <dgm:spPr/>
      <dgm:t>
        <a:bodyPr/>
        <a:lstStyle/>
        <a:p>
          <a:r>
            <a:rPr lang="en-SG" dirty="0"/>
            <a:t>Data Preprocessing.py</a:t>
          </a:r>
        </a:p>
      </dgm:t>
    </dgm:pt>
    <dgm:pt modelId="{9E956B64-E5FA-486E-846C-04A94C587B21}" type="parTrans" cxnId="{B7361C8C-76D0-4EE8-9348-535811C43072}">
      <dgm:prSet/>
      <dgm:spPr/>
      <dgm:t>
        <a:bodyPr/>
        <a:lstStyle/>
        <a:p>
          <a:endParaRPr lang="en-SG"/>
        </a:p>
      </dgm:t>
    </dgm:pt>
    <dgm:pt modelId="{E9180F9F-E893-4533-B775-9087C61D4327}" type="sibTrans" cxnId="{B7361C8C-76D0-4EE8-9348-535811C43072}">
      <dgm:prSet/>
      <dgm:spPr/>
      <dgm:t>
        <a:bodyPr/>
        <a:lstStyle/>
        <a:p>
          <a:endParaRPr lang="en-SG"/>
        </a:p>
      </dgm:t>
    </dgm:pt>
    <dgm:pt modelId="{300B4E75-B483-419C-B3FC-B82A2A2B2C09}">
      <dgm:prSet phldrT="[Text]"/>
      <dgm:spPr/>
      <dgm:t>
        <a:bodyPr/>
        <a:lstStyle/>
        <a:p>
          <a:r>
            <a:rPr lang="en-SG" dirty="0"/>
            <a:t>Processed Data submission</a:t>
          </a:r>
        </a:p>
      </dgm:t>
    </dgm:pt>
    <dgm:pt modelId="{04571844-AA4C-4BD8-A11F-D3865218AA92}" type="parTrans" cxnId="{C06D6897-21A9-4B48-AF5F-7F49DE481A13}">
      <dgm:prSet/>
      <dgm:spPr/>
      <dgm:t>
        <a:bodyPr/>
        <a:lstStyle/>
        <a:p>
          <a:endParaRPr lang="en-SG"/>
        </a:p>
      </dgm:t>
    </dgm:pt>
    <dgm:pt modelId="{F81446D3-5ECC-4FD8-AE18-B34147AEDBA3}" type="sibTrans" cxnId="{C06D6897-21A9-4B48-AF5F-7F49DE481A13}">
      <dgm:prSet/>
      <dgm:spPr/>
      <dgm:t>
        <a:bodyPr/>
        <a:lstStyle/>
        <a:p>
          <a:endParaRPr lang="en-SG"/>
        </a:p>
      </dgm:t>
    </dgm:pt>
    <dgm:pt modelId="{389D0B27-0C54-4F53-889C-F60AF0713234}" type="pres">
      <dgm:prSet presAssocID="{BBACD31C-A239-46C8-B4BD-2D1C00BF0AA7}" presName="Name0" presStyleCnt="0">
        <dgm:presLayoutVars>
          <dgm:dir/>
          <dgm:animOne val="branch"/>
          <dgm:animLvl val="lvl"/>
        </dgm:presLayoutVars>
      </dgm:prSet>
      <dgm:spPr/>
    </dgm:pt>
    <dgm:pt modelId="{CA5F3BFC-AB83-4F3D-963D-6AE310F56603}" type="pres">
      <dgm:prSet presAssocID="{6C0F3046-C927-4756-A70E-2029FBFE2C61}" presName="chaos" presStyleCnt="0"/>
      <dgm:spPr/>
    </dgm:pt>
    <dgm:pt modelId="{A8C81EE0-FC67-484F-9CAE-91C91521D853}" type="pres">
      <dgm:prSet presAssocID="{6C0F3046-C927-4756-A70E-2029FBFE2C61}" presName="parTx1" presStyleLbl="revTx" presStyleIdx="0" presStyleCnt="2"/>
      <dgm:spPr/>
    </dgm:pt>
    <dgm:pt modelId="{46F4D02F-327B-465C-81B7-E6B63BF995CE}" type="pres">
      <dgm:prSet presAssocID="{6C0F3046-C927-4756-A70E-2029FBFE2C61}" presName="c1" presStyleLbl="node1" presStyleIdx="0" presStyleCnt="19"/>
      <dgm:spPr/>
    </dgm:pt>
    <dgm:pt modelId="{9B91700F-BF07-42AB-8C47-08BC5C2C98AF}" type="pres">
      <dgm:prSet presAssocID="{6C0F3046-C927-4756-A70E-2029FBFE2C61}" presName="c2" presStyleLbl="node1" presStyleIdx="1" presStyleCnt="19"/>
      <dgm:spPr/>
    </dgm:pt>
    <dgm:pt modelId="{95F12469-1F5A-4455-8C6F-38AEF1B9483A}" type="pres">
      <dgm:prSet presAssocID="{6C0F3046-C927-4756-A70E-2029FBFE2C61}" presName="c3" presStyleLbl="node1" presStyleIdx="2" presStyleCnt="19"/>
      <dgm:spPr/>
    </dgm:pt>
    <dgm:pt modelId="{0158B312-C063-4D49-A5C7-2AE112EE2E21}" type="pres">
      <dgm:prSet presAssocID="{6C0F3046-C927-4756-A70E-2029FBFE2C61}" presName="c4" presStyleLbl="node1" presStyleIdx="3" presStyleCnt="19"/>
      <dgm:spPr/>
    </dgm:pt>
    <dgm:pt modelId="{7FDBB0CD-FC4B-467A-BCDB-9F43232E950C}" type="pres">
      <dgm:prSet presAssocID="{6C0F3046-C927-4756-A70E-2029FBFE2C61}" presName="c5" presStyleLbl="node1" presStyleIdx="4" presStyleCnt="19"/>
      <dgm:spPr/>
    </dgm:pt>
    <dgm:pt modelId="{295D3681-556F-407D-96DD-91073B825916}" type="pres">
      <dgm:prSet presAssocID="{6C0F3046-C927-4756-A70E-2029FBFE2C61}" presName="c6" presStyleLbl="node1" presStyleIdx="5" presStyleCnt="19"/>
      <dgm:spPr/>
    </dgm:pt>
    <dgm:pt modelId="{3B6EB3AA-7151-4527-A84B-837A2F97EA39}" type="pres">
      <dgm:prSet presAssocID="{6C0F3046-C927-4756-A70E-2029FBFE2C61}" presName="c7" presStyleLbl="node1" presStyleIdx="6" presStyleCnt="19"/>
      <dgm:spPr/>
    </dgm:pt>
    <dgm:pt modelId="{63864C52-1319-48A8-8E20-3B774A049025}" type="pres">
      <dgm:prSet presAssocID="{6C0F3046-C927-4756-A70E-2029FBFE2C61}" presName="c8" presStyleLbl="node1" presStyleIdx="7" presStyleCnt="19"/>
      <dgm:spPr/>
    </dgm:pt>
    <dgm:pt modelId="{DFE848F1-F4BC-41B1-ACA9-2944063E5034}" type="pres">
      <dgm:prSet presAssocID="{6C0F3046-C927-4756-A70E-2029FBFE2C61}" presName="c9" presStyleLbl="node1" presStyleIdx="8" presStyleCnt="19"/>
      <dgm:spPr/>
    </dgm:pt>
    <dgm:pt modelId="{B8ACFAB5-BFC8-4906-B9F0-8CBB67920297}" type="pres">
      <dgm:prSet presAssocID="{6C0F3046-C927-4756-A70E-2029FBFE2C61}" presName="c10" presStyleLbl="node1" presStyleIdx="9" presStyleCnt="19"/>
      <dgm:spPr/>
    </dgm:pt>
    <dgm:pt modelId="{2BEDCD0C-3B39-49FA-8FDF-53CC13EB12A4}" type="pres">
      <dgm:prSet presAssocID="{6C0F3046-C927-4756-A70E-2029FBFE2C61}" presName="c11" presStyleLbl="node1" presStyleIdx="10" presStyleCnt="19"/>
      <dgm:spPr/>
    </dgm:pt>
    <dgm:pt modelId="{3DA0DD7D-4BB0-40D7-906E-2CA9BF135A9D}" type="pres">
      <dgm:prSet presAssocID="{6C0F3046-C927-4756-A70E-2029FBFE2C61}" presName="c12" presStyleLbl="node1" presStyleIdx="11" presStyleCnt="19"/>
      <dgm:spPr/>
    </dgm:pt>
    <dgm:pt modelId="{CADF121D-FDC8-41F3-83A9-181BCA26B39C}" type="pres">
      <dgm:prSet presAssocID="{6C0F3046-C927-4756-A70E-2029FBFE2C61}" presName="c13" presStyleLbl="node1" presStyleIdx="12" presStyleCnt="19"/>
      <dgm:spPr/>
    </dgm:pt>
    <dgm:pt modelId="{02662FF1-F12A-46BC-8BEF-62BAE21449C2}" type="pres">
      <dgm:prSet presAssocID="{6C0F3046-C927-4756-A70E-2029FBFE2C61}" presName="c14" presStyleLbl="node1" presStyleIdx="13" presStyleCnt="19"/>
      <dgm:spPr/>
    </dgm:pt>
    <dgm:pt modelId="{20EF7C3F-8336-489C-9E6D-C293B2F7BCF7}" type="pres">
      <dgm:prSet presAssocID="{6C0F3046-C927-4756-A70E-2029FBFE2C61}" presName="c15" presStyleLbl="node1" presStyleIdx="14" presStyleCnt="19"/>
      <dgm:spPr/>
    </dgm:pt>
    <dgm:pt modelId="{F79BBD7F-6596-41F4-B6AA-7639E629E48F}" type="pres">
      <dgm:prSet presAssocID="{6C0F3046-C927-4756-A70E-2029FBFE2C61}" presName="c16" presStyleLbl="node1" presStyleIdx="15" presStyleCnt="19"/>
      <dgm:spPr/>
    </dgm:pt>
    <dgm:pt modelId="{FB23B29F-4F20-49A0-896E-8265C2DE2BD7}" type="pres">
      <dgm:prSet presAssocID="{6C0F3046-C927-4756-A70E-2029FBFE2C61}" presName="c17" presStyleLbl="node1" presStyleIdx="16" presStyleCnt="19"/>
      <dgm:spPr/>
    </dgm:pt>
    <dgm:pt modelId="{7DDFACB3-41CE-4F1E-A5D4-97740F21CAC8}" type="pres">
      <dgm:prSet presAssocID="{6C0F3046-C927-4756-A70E-2029FBFE2C61}" presName="c18" presStyleLbl="node1" presStyleIdx="17" presStyleCnt="19"/>
      <dgm:spPr/>
    </dgm:pt>
    <dgm:pt modelId="{D0104A82-C289-4D94-B7DD-FFF8B92D80EB}" type="pres">
      <dgm:prSet presAssocID="{1B75BE84-5B3F-4039-BE2B-DB68CBB0586B}" presName="chevronComposite1" presStyleCnt="0"/>
      <dgm:spPr/>
    </dgm:pt>
    <dgm:pt modelId="{22BBD6A6-169A-4BB7-A9D8-471E143A1176}" type="pres">
      <dgm:prSet presAssocID="{1B75BE84-5B3F-4039-BE2B-DB68CBB0586B}" presName="chevron1" presStyleLbl="sibTrans2D1" presStyleIdx="0" presStyleCnt="2"/>
      <dgm:spPr/>
    </dgm:pt>
    <dgm:pt modelId="{69392785-6704-4F09-846F-52D754A961D8}" type="pres">
      <dgm:prSet presAssocID="{1B75BE84-5B3F-4039-BE2B-DB68CBB0586B}" presName="spChevron1" presStyleCnt="0"/>
      <dgm:spPr/>
    </dgm:pt>
    <dgm:pt modelId="{2F6E5E3D-3058-4CCC-AAAC-E7AD21D34242}" type="pres">
      <dgm:prSet presAssocID="{17932E57-4432-4B7D-B0A8-D0D7F294AA18}" presName="middle" presStyleCnt="0"/>
      <dgm:spPr/>
    </dgm:pt>
    <dgm:pt modelId="{65F3B97B-2C8D-4B0E-A5A6-E7F8F04A3128}" type="pres">
      <dgm:prSet presAssocID="{17932E57-4432-4B7D-B0A8-D0D7F294AA18}" presName="parTxMid" presStyleLbl="revTx" presStyleIdx="1" presStyleCnt="2"/>
      <dgm:spPr/>
    </dgm:pt>
    <dgm:pt modelId="{EBADA1E0-3C5D-44E7-B313-B8ABFD467040}" type="pres">
      <dgm:prSet presAssocID="{17932E57-4432-4B7D-B0A8-D0D7F294AA18}" presName="spMid" presStyleCnt="0"/>
      <dgm:spPr/>
    </dgm:pt>
    <dgm:pt modelId="{E0E1322D-8FCD-41D1-A037-BF83FC37C471}" type="pres">
      <dgm:prSet presAssocID="{E9180F9F-E893-4533-B775-9087C61D4327}" presName="chevronComposite1" presStyleCnt="0"/>
      <dgm:spPr/>
    </dgm:pt>
    <dgm:pt modelId="{55072F77-C288-4A44-B186-3787D39FB991}" type="pres">
      <dgm:prSet presAssocID="{E9180F9F-E893-4533-B775-9087C61D4327}" presName="chevron1" presStyleLbl="sibTrans2D1" presStyleIdx="1" presStyleCnt="2"/>
      <dgm:spPr/>
    </dgm:pt>
    <dgm:pt modelId="{24F065D4-092C-4ED0-BE40-5DEE991275EC}" type="pres">
      <dgm:prSet presAssocID="{E9180F9F-E893-4533-B775-9087C61D4327}" presName="spChevron1" presStyleCnt="0"/>
      <dgm:spPr/>
    </dgm:pt>
    <dgm:pt modelId="{1FFFAA77-9A76-461D-AB7B-F7F9D2282A1A}" type="pres">
      <dgm:prSet presAssocID="{300B4E75-B483-419C-B3FC-B82A2A2B2C09}" presName="last" presStyleCnt="0"/>
      <dgm:spPr/>
    </dgm:pt>
    <dgm:pt modelId="{D46AB234-6F34-427B-9638-94233E665CE5}" type="pres">
      <dgm:prSet presAssocID="{300B4E75-B483-419C-B3FC-B82A2A2B2C09}" presName="circleTx" presStyleLbl="node1" presStyleIdx="18" presStyleCnt="19"/>
      <dgm:spPr/>
    </dgm:pt>
    <dgm:pt modelId="{EA5854FE-F1EF-494E-B295-58EC432A7441}" type="pres">
      <dgm:prSet presAssocID="{300B4E75-B483-419C-B3FC-B82A2A2B2C09}" presName="spN" presStyleCnt="0"/>
      <dgm:spPr/>
    </dgm:pt>
  </dgm:ptLst>
  <dgm:cxnLst>
    <dgm:cxn modelId="{B3470F06-D7B3-4DDC-ABA1-6A7C58B7B2A4}" type="presOf" srcId="{6C0F3046-C927-4756-A70E-2029FBFE2C61}" destId="{A8C81EE0-FC67-484F-9CAE-91C91521D853}" srcOrd="0" destOrd="0" presId="urn:microsoft.com/office/officeart/2009/3/layout/RandomtoResultProcess"/>
    <dgm:cxn modelId="{6DEA3A1D-9EEF-42D8-AD75-E0B59046B133}" srcId="{BBACD31C-A239-46C8-B4BD-2D1C00BF0AA7}" destId="{6C0F3046-C927-4756-A70E-2029FBFE2C61}" srcOrd="0" destOrd="0" parTransId="{08F40977-8278-42AA-9224-318828203784}" sibTransId="{1B75BE84-5B3F-4039-BE2B-DB68CBB0586B}"/>
    <dgm:cxn modelId="{F240D453-80E1-45DA-BF23-90F612BC1AF2}" type="presOf" srcId="{17932E57-4432-4B7D-B0A8-D0D7F294AA18}" destId="{65F3B97B-2C8D-4B0E-A5A6-E7F8F04A3128}" srcOrd="0" destOrd="0" presId="urn:microsoft.com/office/officeart/2009/3/layout/RandomtoResultProcess"/>
    <dgm:cxn modelId="{B7361C8C-76D0-4EE8-9348-535811C43072}" srcId="{BBACD31C-A239-46C8-B4BD-2D1C00BF0AA7}" destId="{17932E57-4432-4B7D-B0A8-D0D7F294AA18}" srcOrd="1" destOrd="0" parTransId="{9E956B64-E5FA-486E-846C-04A94C587B21}" sibTransId="{E9180F9F-E893-4533-B775-9087C61D4327}"/>
    <dgm:cxn modelId="{C06D6897-21A9-4B48-AF5F-7F49DE481A13}" srcId="{BBACD31C-A239-46C8-B4BD-2D1C00BF0AA7}" destId="{300B4E75-B483-419C-B3FC-B82A2A2B2C09}" srcOrd="2" destOrd="0" parTransId="{04571844-AA4C-4BD8-A11F-D3865218AA92}" sibTransId="{F81446D3-5ECC-4FD8-AE18-B34147AEDBA3}"/>
    <dgm:cxn modelId="{9FE42CA3-E265-4C28-8574-27B1C59F490D}" type="presOf" srcId="{300B4E75-B483-419C-B3FC-B82A2A2B2C09}" destId="{D46AB234-6F34-427B-9638-94233E665CE5}" srcOrd="0" destOrd="0" presId="urn:microsoft.com/office/officeart/2009/3/layout/RandomtoResultProcess"/>
    <dgm:cxn modelId="{0CCFFCC6-0B01-451C-B414-CB6D30F8BACD}" type="presOf" srcId="{BBACD31C-A239-46C8-B4BD-2D1C00BF0AA7}" destId="{389D0B27-0C54-4F53-889C-F60AF0713234}" srcOrd="0" destOrd="0" presId="urn:microsoft.com/office/officeart/2009/3/layout/RandomtoResultProcess"/>
    <dgm:cxn modelId="{A5680D3F-7CB8-4A0C-B6F5-D3CE62A58A89}" type="presParOf" srcId="{389D0B27-0C54-4F53-889C-F60AF0713234}" destId="{CA5F3BFC-AB83-4F3D-963D-6AE310F56603}" srcOrd="0" destOrd="0" presId="urn:microsoft.com/office/officeart/2009/3/layout/RandomtoResultProcess"/>
    <dgm:cxn modelId="{1D513A1C-9C73-4766-9547-D987772EF6D6}" type="presParOf" srcId="{CA5F3BFC-AB83-4F3D-963D-6AE310F56603}" destId="{A8C81EE0-FC67-484F-9CAE-91C91521D853}" srcOrd="0" destOrd="0" presId="urn:microsoft.com/office/officeart/2009/3/layout/RandomtoResultProcess"/>
    <dgm:cxn modelId="{8F721CB8-28CA-4A2D-A43B-7D219E64D9F8}" type="presParOf" srcId="{CA5F3BFC-AB83-4F3D-963D-6AE310F56603}" destId="{46F4D02F-327B-465C-81B7-E6B63BF995CE}" srcOrd="1" destOrd="0" presId="urn:microsoft.com/office/officeart/2009/3/layout/RandomtoResultProcess"/>
    <dgm:cxn modelId="{6E93092A-2065-4D45-902A-164F86303329}" type="presParOf" srcId="{CA5F3BFC-AB83-4F3D-963D-6AE310F56603}" destId="{9B91700F-BF07-42AB-8C47-08BC5C2C98AF}" srcOrd="2" destOrd="0" presId="urn:microsoft.com/office/officeart/2009/3/layout/RandomtoResultProcess"/>
    <dgm:cxn modelId="{B83AB169-395E-4E02-937A-AA4758E6D1BF}" type="presParOf" srcId="{CA5F3BFC-AB83-4F3D-963D-6AE310F56603}" destId="{95F12469-1F5A-4455-8C6F-38AEF1B9483A}" srcOrd="3" destOrd="0" presId="urn:microsoft.com/office/officeart/2009/3/layout/RandomtoResultProcess"/>
    <dgm:cxn modelId="{C6C45422-A5B3-48E0-B607-F40179CD33CE}" type="presParOf" srcId="{CA5F3BFC-AB83-4F3D-963D-6AE310F56603}" destId="{0158B312-C063-4D49-A5C7-2AE112EE2E21}" srcOrd="4" destOrd="0" presId="urn:microsoft.com/office/officeart/2009/3/layout/RandomtoResultProcess"/>
    <dgm:cxn modelId="{439E0AE9-8B0C-4DB4-B1AC-4901B708598C}" type="presParOf" srcId="{CA5F3BFC-AB83-4F3D-963D-6AE310F56603}" destId="{7FDBB0CD-FC4B-467A-BCDB-9F43232E950C}" srcOrd="5" destOrd="0" presId="urn:microsoft.com/office/officeart/2009/3/layout/RandomtoResultProcess"/>
    <dgm:cxn modelId="{DD1A6846-2BA8-49DA-BD93-C0DDF44512BC}" type="presParOf" srcId="{CA5F3BFC-AB83-4F3D-963D-6AE310F56603}" destId="{295D3681-556F-407D-96DD-91073B825916}" srcOrd="6" destOrd="0" presId="urn:microsoft.com/office/officeart/2009/3/layout/RandomtoResultProcess"/>
    <dgm:cxn modelId="{D28C801D-63D3-4166-B27B-FFEB02D445C1}" type="presParOf" srcId="{CA5F3BFC-AB83-4F3D-963D-6AE310F56603}" destId="{3B6EB3AA-7151-4527-A84B-837A2F97EA39}" srcOrd="7" destOrd="0" presId="urn:microsoft.com/office/officeart/2009/3/layout/RandomtoResultProcess"/>
    <dgm:cxn modelId="{4E463422-3D0F-4BF4-8D49-152810C58B9E}" type="presParOf" srcId="{CA5F3BFC-AB83-4F3D-963D-6AE310F56603}" destId="{63864C52-1319-48A8-8E20-3B774A049025}" srcOrd="8" destOrd="0" presId="urn:microsoft.com/office/officeart/2009/3/layout/RandomtoResultProcess"/>
    <dgm:cxn modelId="{160E2997-C68B-4E72-9518-B6324FFEDF2E}" type="presParOf" srcId="{CA5F3BFC-AB83-4F3D-963D-6AE310F56603}" destId="{DFE848F1-F4BC-41B1-ACA9-2944063E5034}" srcOrd="9" destOrd="0" presId="urn:microsoft.com/office/officeart/2009/3/layout/RandomtoResultProcess"/>
    <dgm:cxn modelId="{64C6856E-35DB-4162-BA99-007820F07251}" type="presParOf" srcId="{CA5F3BFC-AB83-4F3D-963D-6AE310F56603}" destId="{B8ACFAB5-BFC8-4906-B9F0-8CBB67920297}" srcOrd="10" destOrd="0" presId="urn:microsoft.com/office/officeart/2009/3/layout/RandomtoResultProcess"/>
    <dgm:cxn modelId="{71B1C8C5-B8FB-45E7-A228-F6F84795DB13}" type="presParOf" srcId="{CA5F3BFC-AB83-4F3D-963D-6AE310F56603}" destId="{2BEDCD0C-3B39-49FA-8FDF-53CC13EB12A4}" srcOrd="11" destOrd="0" presId="urn:microsoft.com/office/officeart/2009/3/layout/RandomtoResultProcess"/>
    <dgm:cxn modelId="{CE51E4CD-8925-424A-B8BC-56936AC11290}" type="presParOf" srcId="{CA5F3BFC-AB83-4F3D-963D-6AE310F56603}" destId="{3DA0DD7D-4BB0-40D7-906E-2CA9BF135A9D}" srcOrd="12" destOrd="0" presId="urn:microsoft.com/office/officeart/2009/3/layout/RandomtoResultProcess"/>
    <dgm:cxn modelId="{245F9797-C874-4A17-9388-5E3D6CDB5548}" type="presParOf" srcId="{CA5F3BFC-AB83-4F3D-963D-6AE310F56603}" destId="{CADF121D-FDC8-41F3-83A9-181BCA26B39C}" srcOrd="13" destOrd="0" presId="urn:microsoft.com/office/officeart/2009/3/layout/RandomtoResultProcess"/>
    <dgm:cxn modelId="{2C9BF0FA-BDC2-4E7C-9431-1FEB69D9F1C4}" type="presParOf" srcId="{CA5F3BFC-AB83-4F3D-963D-6AE310F56603}" destId="{02662FF1-F12A-46BC-8BEF-62BAE21449C2}" srcOrd="14" destOrd="0" presId="urn:microsoft.com/office/officeart/2009/3/layout/RandomtoResultProcess"/>
    <dgm:cxn modelId="{9323F943-3039-40A2-8E44-39B7FE6148C4}" type="presParOf" srcId="{CA5F3BFC-AB83-4F3D-963D-6AE310F56603}" destId="{20EF7C3F-8336-489C-9E6D-C293B2F7BCF7}" srcOrd="15" destOrd="0" presId="urn:microsoft.com/office/officeart/2009/3/layout/RandomtoResultProcess"/>
    <dgm:cxn modelId="{C4951443-6195-4586-91FE-E3BBBCF05EE9}" type="presParOf" srcId="{CA5F3BFC-AB83-4F3D-963D-6AE310F56603}" destId="{F79BBD7F-6596-41F4-B6AA-7639E629E48F}" srcOrd="16" destOrd="0" presId="urn:microsoft.com/office/officeart/2009/3/layout/RandomtoResultProcess"/>
    <dgm:cxn modelId="{445752EB-CAE2-4DEF-8D8A-7BCB8A230CEB}" type="presParOf" srcId="{CA5F3BFC-AB83-4F3D-963D-6AE310F56603}" destId="{FB23B29F-4F20-49A0-896E-8265C2DE2BD7}" srcOrd="17" destOrd="0" presId="urn:microsoft.com/office/officeart/2009/3/layout/RandomtoResultProcess"/>
    <dgm:cxn modelId="{C7F04131-0670-4C4E-B7AE-7239864D3BDD}" type="presParOf" srcId="{CA5F3BFC-AB83-4F3D-963D-6AE310F56603}" destId="{7DDFACB3-41CE-4F1E-A5D4-97740F21CAC8}" srcOrd="18" destOrd="0" presId="urn:microsoft.com/office/officeart/2009/3/layout/RandomtoResultProcess"/>
    <dgm:cxn modelId="{C53D5DEE-735C-4621-91CD-A06B07372CAC}" type="presParOf" srcId="{389D0B27-0C54-4F53-889C-F60AF0713234}" destId="{D0104A82-C289-4D94-B7DD-FFF8B92D80EB}" srcOrd="1" destOrd="0" presId="urn:microsoft.com/office/officeart/2009/3/layout/RandomtoResultProcess"/>
    <dgm:cxn modelId="{9A96781F-E104-4646-A50A-D849DFEBD197}" type="presParOf" srcId="{D0104A82-C289-4D94-B7DD-FFF8B92D80EB}" destId="{22BBD6A6-169A-4BB7-A9D8-471E143A1176}" srcOrd="0" destOrd="0" presId="urn:microsoft.com/office/officeart/2009/3/layout/RandomtoResultProcess"/>
    <dgm:cxn modelId="{218FF74E-CA2A-4A7D-82E0-692A41B15627}" type="presParOf" srcId="{D0104A82-C289-4D94-B7DD-FFF8B92D80EB}" destId="{69392785-6704-4F09-846F-52D754A961D8}" srcOrd="1" destOrd="0" presId="urn:microsoft.com/office/officeart/2009/3/layout/RandomtoResultProcess"/>
    <dgm:cxn modelId="{F43830CA-3406-4233-A162-DD61BE0CCB02}" type="presParOf" srcId="{389D0B27-0C54-4F53-889C-F60AF0713234}" destId="{2F6E5E3D-3058-4CCC-AAAC-E7AD21D34242}" srcOrd="2" destOrd="0" presId="urn:microsoft.com/office/officeart/2009/3/layout/RandomtoResultProcess"/>
    <dgm:cxn modelId="{361685B1-489D-4F0A-852F-BAA2C3B1FE6F}" type="presParOf" srcId="{2F6E5E3D-3058-4CCC-AAAC-E7AD21D34242}" destId="{65F3B97B-2C8D-4B0E-A5A6-E7F8F04A3128}" srcOrd="0" destOrd="0" presId="urn:microsoft.com/office/officeart/2009/3/layout/RandomtoResultProcess"/>
    <dgm:cxn modelId="{B23C3BB9-5490-437A-9012-96E8273955F0}" type="presParOf" srcId="{2F6E5E3D-3058-4CCC-AAAC-E7AD21D34242}" destId="{EBADA1E0-3C5D-44E7-B313-B8ABFD467040}" srcOrd="1" destOrd="0" presId="urn:microsoft.com/office/officeart/2009/3/layout/RandomtoResultProcess"/>
    <dgm:cxn modelId="{16B7B2C7-71AB-494D-B578-91A7B9014D60}" type="presParOf" srcId="{389D0B27-0C54-4F53-889C-F60AF0713234}" destId="{E0E1322D-8FCD-41D1-A037-BF83FC37C471}" srcOrd="3" destOrd="0" presId="urn:microsoft.com/office/officeart/2009/3/layout/RandomtoResultProcess"/>
    <dgm:cxn modelId="{2E7999E6-6128-4E98-9A90-BCE616FBC8B6}" type="presParOf" srcId="{E0E1322D-8FCD-41D1-A037-BF83FC37C471}" destId="{55072F77-C288-4A44-B186-3787D39FB991}" srcOrd="0" destOrd="0" presId="urn:microsoft.com/office/officeart/2009/3/layout/RandomtoResultProcess"/>
    <dgm:cxn modelId="{0869F4BC-421C-4E6C-8127-C15C97DC57FF}" type="presParOf" srcId="{E0E1322D-8FCD-41D1-A037-BF83FC37C471}" destId="{24F065D4-092C-4ED0-BE40-5DEE991275EC}" srcOrd="1" destOrd="0" presId="urn:microsoft.com/office/officeart/2009/3/layout/RandomtoResultProcess"/>
    <dgm:cxn modelId="{D29EDA08-9C6B-4BEF-88ED-BAF5E134791B}" type="presParOf" srcId="{389D0B27-0C54-4F53-889C-F60AF0713234}" destId="{1FFFAA77-9A76-461D-AB7B-F7F9D2282A1A}" srcOrd="4" destOrd="0" presId="urn:microsoft.com/office/officeart/2009/3/layout/RandomtoResultProcess"/>
    <dgm:cxn modelId="{6D51C2FF-5DAF-4157-BBBC-86480B3ADC3A}" type="presParOf" srcId="{1FFFAA77-9A76-461D-AB7B-F7F9D2282A1A}" destId="{D46AB234-6F34-427B-9638-94233E665CE5}" srcOrd="0" destOrd="0" presId="urn:microsoft.com/office/officeart/2009/3/layout/RandomtoResultProcess"/>
    <dgm:cxn modelId="{8565FB3B-9FD8-4C6F-A3E1-469119165FCE}" type="presParOf" srcId="{1FFFAA77-9A76-461D-AB7B-F7F9D2282A1A}" destId="{EA5854FE-F1EF-494E-B295-58EC432A7441}" srcOrd="1" destOrd="0" presId="urn:microsoft.com/office/officeart/2009/3/layout/RandomtoResult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BBACD31C-A239-46C8-B4BD-2D1C00BF0AA7}" type="doc">
      <dgm:prSet loTypeId="urn:microsoft.com/office/officeart/2005/8/layout/process2" loCatId="process" qsTypeId="urn:microsoft.com/office/officeart/2005/8/quickstyle/simple1" qsCatId="simple" csTypeId="urn:microsoft.com/office/officeart/2005/8/colors/accent3_3" csCatId="accent3" phldr="1"/>
      <dgm:spPr/>
    </dgm:pt>
    <dgm:pt modelId="{6C0F3046-C927-4756-A70E-2029FBFE2C61}">
      <dgm:prSet phldrT="[Text]"/>
      <dgm:spPr/>
      <dgm:t>
        <a:bodyPr/>
        <a:lstStyle/>
        <a:p>
          <a:r>
            <a:rPr lang="en-SG" dirty="0"/>
            <a:t>Main_&lt;lda/nmf&gt;.py</a:t>
          </a:r>
        </a:p>
      </dgm:t>
    </dgm:pt>
    <dgm:pt modelId="{08F40977-8278-42AA-9224-318828203784}" type="parTrans" cxnId="{6DEA3A1D-9EEF-42D8-AD75-E0B59046B133}">
      <dgm:prSet/>
      <dgm:spPr/>
      <dgm:t>
        <a:bodyPr/>
        <a:lstStyle/>
        <a:p>
          <a:endParaRPr lang="en-SG"/>
        </a:p>
      </dgm:t>
    </dgm:pt>
    <dgm:pt modelId="{1B75BE84-5B3F-4039-BE2B-DB68CBB0586B}" type="sibTrans" cxnId="{6DEA3A1D-9EEF-42D8-AD75-E0B59046B133}">
      <dgm:prSet/>
      <dgm:spPr/>
      <dgm:t>
        <a:bodyPr/>
        <a:lstStyle/>
        <a:p>
          <a:endParaRPr lang="en-SG" dirty="0"/>
        </a:p>
      </dgm:t>
    </dgm:pt>
    <dgm:pt modelId="{17932E57-4432-4B7D-B0A8-D0D7F294AA18}">
      <dgm:prSet phldrT="[Text]"/>
      <dgm:spPr/>
      <dgm:t>
        <a:bodyPr/>
        <a:lstStyle/>
        <a:p>
          <a:r>
            <a:rPr lang="en-SG" dirty="0"/>
            <a:t>sklearnLDA.py</a:t>
          </a:r>
        </a:p>
      </dgm:t>
    </dgm:pt>
    <dgm:pt modelId="{9E956B64-E5FA-486E-846C-04A94C587B21}" type="parTrans" cxnId="{B7361C8C-76D0-4EE8-9348-535811C43072}">
      <dgm:prSet/>
      <dgm:spPr/>
      <dgm:t>
        <a:bodyPr/>
        <a:lstStyle/>
        <a:p>
          <a:endParaRPr lang="en-SG"/>
        </a:p>
      </dgm:t>
    </dgm:pt>
    <dgm:pt modelId="{E9180F9F-E893-4533-B775-9087C61D4327}" type="sibTrans" cxnId="{B7361C8C-76D0-4EE8-9348-535811C43072}">
      <dgm:prSet/>
      <dgm:spPr/>
      <dgm:t>
        <a:bodyPr/>
        <a:lstStyle/>
        <a:p>
          <a:endParaRPr lang="en-SG" dirty="0"/>
        </a:p>
      </dgm:t>
    </dgm:pt>
    <dgm:pt modelId="{300B4E75-B483-419C-B3FC-B82A2A2B2C09}">
      <dgm:prSet phldrT="[Text]"/>
      <dgm:spPr/>
      <dgm:t>
        <a:bodyPr/>
        <a:lstStyle/>
        <a:p>
          <a:r>
            <a:rPr lang="en-SG" dirty="0"/>
            <a:t>Model</a:t>
          </a:r>
        </a:p>
        <a:p>
          <a:r>
            <a:rPr lang="en-SG" dirty="0"/>
            <a:t>Submission</a:t>
          </a:r>
        </a:p>
      </dgm:t>
    </dgm:pt>
    <dgm:pt modelId="{04571844-AA4C-4BD8-A11F-D3865218AA92}" type="parTrans" cxnId="{C06D6897-21A9-4B48-AF5F-7F49DE481A13}">
      <dgm:prSet/>
      <dgm:spPr/>
      <dgm:t>
        <a:bodyPr/>
        <a:lstStyle/>
        <a:p>
          <a:endParaRPr lang="en-SG"/>
        </a:p>
      </dgm:t>
    </dgm:pt>
    <dgm:pt modelId="{F81446D3-5ECC-4FD8-AE18-B34147AEDBA3}" type="sibTrans" cxnId="{C06D6897-21A9-4B48-AF5F-7F49DE481A13}">
      <dgm:prSet/>
      <dgm:spPr/>
      <dgm:t>
        <a:bodyPr/>
        <a:lstStyle/>
        <a:p>
          <a:endParaRPr lang="en-SG"/>
        </a:p>
      </dgm:t>
    </dgm:pt>
    <dgm:pt modelId="{AC9654E8-2012-43A7-9790-89598CB678D8}" type="pres">
      <dgm:prSet presAssocID="{BBACD31C-A239-46C8-B4BD-2D1C00BF0AA7}" presName="linearFlow" presStyleCnt="0">
        <dgm:presLayoutVars>
          <dgm:resizeHandles val="exact"/>
        </dgm:presLayoutVars>
      </dgm:prSet>
      <dgm:spPr/>
    </dgm:pt>
    <dgm:pt modelId="{89B089B8-207D-4394-94F6-16999D997E13}" type="pres">
      <dgm:prSet presAssocID="{6C0F3046-C927-4756-A70E-2029FBFE2C61}" presName="node" presStyleLbl="node1" presStyleIdx="0" presStyleCnt="3">
        <dgm:presLayoutVars>
          <dgm:bulletEnabled val="1"/>
        </dgm:presLayoutVars>
      </dgm:prSet>
      <dgm:spPr/>
    </dgm:pt>
    <dgm:pt modelId="{0B43C7C7-785A-4DAD-B250-1A9C846F9810}" type="pres">
      <dgm:prSet presAssocID="{1B75BE84-5B3F-4039-BE2B-DB68CBB0586B}" presName="sibTrans" presStyleLbl="sibTrans2D1" presStyleIdx="0" presStyleCnt="2"/>
      <dgm:spPr/>
    </dgm:pt>
    <dgm:pt modelId="{6956D3DD-CD38-4EC5-86FE-0C9CB3BDD195}" type="pres">
      <dgm:prSet presAssocID="{1B75BE84-5B3F-4039-BE2B-DB68CBB0586B}" presName="connectorText" presStyleLbl="sibTrans2D1" presStyleIdx="0" presStyleCnt="2"/>
      <dgm:spPr/>
    </dgm:pt>
    <dgm:pt modelId="{3FF7D798-0CEC-44AC-9A93-9C032539D6E7}" type="pres">
      <dgm:prSet presAssocID="{17932E57-4432-4B7D-B0A8-D0D7F294AA18}" presName="node" presStyleLbl="node1" presStyleIdx="1" presStyleCnt="3">
        <dgm:presLayoutVars>
          <dgm:bulletEnabled val="1"/>
        </dgm:presLayoutVars>
      </dgm:prSet>
      <dgm:spPr/>
    </dgm:pt>
    <dgm:pt modelId="{874AA228-C08E-4662-BA39-8FBB8B7DFC5C}" type="pres">
      <dgm:prSet presAssocID="{E9180F9F-E893-4533-B775-9087C61D4327}" presName="sibTrans" presStyleLbl="sibTrans2D1" presStyleIdx="1" presStyleCnt="2"/>
      <dgm:spPr/>
    </dgm:pt>
    <dgm:pt modelId="{A6775BE0-001F-4E71-A398-BB8814CEB07B}" type="pres">
      <dgm:prSet presAssocID="{E9180F9F-E893-4533-B775-9087C61D4327}" presName="connectorText" presStyleLbl="sibTrans2D1" presStyleIdx="1" presStyleCnt="2"/>
      <dgm:spPr/>
    </dgm:pt>
    <dgm:pt modelId="{19AAC7DD-3AC0-4C3E-8FE2-4B07237CAE77}" type="pres">
      <dgm:prSet presAssocID="{300B4E75-B483-419C-B3FC-B82A2A2B2C09}" presName="node" presStyleLbl="node1" presStyleIdx="2" presStyleCnt="3">
        <dgm:presLayoutVars>
          <dgm:bulletEnabled val="1"/>
        </dgm:presLayoutVars>
      </dgm:prSet>
      <dgm:spPr/>
    </dgm:pt>
  </dgm:ptLst>
  <dgm:cxnLst>
    <dgm:cxn modelId="{6AB8271B-8BBF-447B-B9A3-C22D116DB9CB}" type="presOf" srcId="{6C0F3046-C927-4756-A70E-2029FBFE2C61}" destId="{89B089B8-207D-4394-94F6-16999D997E13}" srcOrd="0" destOrd="0" presId="urn:microsoft.com/office/officeart/2005/8/layout/process2"/>
    <dgm:cxn modelId="{6DEA3A1D-9EEF-42D8-AD75-E0B59046B133}" srcId="{BBACD31C-A239-46C8-B4BD-2D1C00BF0AA7}" destId="{6C0F3046-C927-4756-A70E-2029FBFE2C61}" srcOrd="0" destOrd="0" parTransId="{08F40977-8278-42AA-9224-318828203784}" sibTransId="{1B75BE84-5B3F-4039-BE2B-DB68CBB0586B}"/>
    <dgm:cxn modelId="{048BE15F-8E11-416D-8B0E-26796D3C9626}" type="presOf" srcId="{300B4E75-B483-419C-B3FC-B82A2A2B2C09}" destId="{19AAC7DD-3AC0-4C3E-8FE2-4B07237CAE77}" srcOrd="0" destOrd="0" presId="urn:microsoft.com/office/officeart/2005/8/layout/process2"/>
    <dgm:cxn modelId="{91FF9641-7B82-4E73-8BE0-009C4B03528A}" type="presOf" srcId="{E9180F9F-E893-4533-B775-9087C61D4327}" destId="{A6775BE0-001F-4E71-A398-BB8814CEB07B}" srcOrd="1" destOrd="0" presId="urn:microsoft.com/office/officeart/2005/8/layout/process2"/>
    <dgm:cxn modelId="{5DF74E64-88A1-43DB-ACC0-C428263295A3}" type="presOf" srcId="{E9180F9F-E893-4533-B775-9087C61D4327}" destId="{874AA228-C08E-4662-BA39-8FBB8B7DFC5C}" srcOrd="0" destOrd="0" presId="urn:microsoft.com/office/officeart/2005/8/layout/process2"/>
    <dgm:cxn modelId="{EAF30E51-5371-4BEB-8A99-02E04E9BAF7B}" type="presOf" srcId="{1B75BE84-5B3F-4039-BE2B-DB68CBB0586B}" destId="{6956D3DD-CD38-4EC5-86FE-0C9CB3BDD195}" srcOrd="1" destOrd="0" presId="urn:microsoft.com/office/officeart/2005/8/layout/process2"/>
    <dgm:cxn modelId="{7AF41156-CFCC-4074-9B4D-AAE47BA15044}" type="presOf" srcId="{17932E57-4432-4B7D-B0A8-D0D7F294AA18}" destId="{3FF7D798-0CEC-44AC-9A93-9C032539D6E7}" srcOrd="0" destOrd="0" presId="urn:microsoft.com/office/officeart/2005/8/layout/process2"/>
    <dgm:cxn modelId="{F3688678-DFBB-4F7C-8AA5-60D0B51C2AB1}" type="presOf" srcId="{1B75BE84-5B3F-4039-BE2B-DB68CBB0586B}" destId="{0B43C7C7-785A-4DAD-B250-1A9C846F9810}" srcOrd="0" destOrd="0" presId="urn:microsoft.com/office/officeart/2005/8/layout/process2"/>
    <dgm:cxn modelId="{B7361C8C-76D0-4EE8-9348-535811C43072}" srcId="{BBACD31C-A239-46C8-B4BD-2D1C00BF0AA7}" destId="{17932E57-4432-4B7D-B0A8-D0D7F294AA18}" srcOrd="1" destOrd="0" parTransId="{9E956B64-E5FA-486E-846C-04A94C587B21}" sibTransId="{E9180F9F-E893-4533-B775-9087C61D4327}"/>
    <dgm:cxn modelId="{C06D6897-21A9-4B48-AF5F-7F49DE481A13}" srcId="{BBACD31C-A239-46C8-B4BD-2D1C00BF0AA7}" destId="{300B4E75-B483-419C-B3FC-B82A2A2B2C09}" srcOrd="2" destOrd="0" parTransId="{04571844-AA4C-4BD8-A11F-D3865218AA92}" sibTransId="{F81446D3-5ECC-4FD8-AE18-B34147AEDBA3}"/>
    <dgm:cxn modelId="{BF2B94A0-FCAC-4163-BDE0-0BCF29B80E3F}" type="presOf" srcId="{BBACD31C-A239-46C8-B4BD-2D1C00BF0AA7}" destId="{AC9654E8-2012-43A7-9790-89598CB678D8}" srcOrd="0" destOrd="0" presId="urn:microsoft.com/office/officeart/2005/8/layout/process2"/>
    <dgm:cxn modelId="{77FC96CF-CF08-4CD8-9936-FBD754FCD5CD}" type="presParOf" srcId="{AC9654E8-2012-43A7-9790-89598CB678D8}" destId="{89B089B8-207D-4394-94F6-16999D997E13}" srcOrd="0" destOrd="0" presId="urn:microsoft.com/office/officeart/2005/8/layout/process2"/>
    <dgm:cxn modelId="{1E0EFD6A-0A6B-4CC3-BE10-0D6C32A147B8}" type="presParOf" srcId="{AC9654E8-2012-43A7-9790-89598CB678D8}" destId="{0B43C7C7-785A-4DAD-B250-1A9C846F9810}" srcOrd="1" destOrd="0" presId="urn:microsoft.com/office/officeart/2005/8/layout/process2"/>
    <dgm:cxn modelId="{B0AA4CF6-5AAE-430B-9A89-24CA51004707}" type="presParOf" srcId="{0B43C7C7-785A-4DAD-B250-1A9C846F9810}" destId="{6956D3DD-CD38-4EC5-86FE-0C9CB3BDD195}" srcOrd="0" destOrd="0" presId="urn:microsoft.com/office/officeart/2005/8/layout/process2"/>
    <dgm:cxn modelId="{31179883-3349-4661-B52A-19DA309492F8}" type="presParOf" srcId="{AC9654E8-2012-43A7-9790-89598CB678D8}" destId="{3FF7D798-0CEC-44AC-9A93-9C032539D6E7}" srcOrd="2" destOrd="0" presId="urn:microsoft.com/office/officeart/2005/8/layout/process2"/>
    <dgm:cxn modelId="{F4D0DBEE-91A3-4E07-8717-2E9D1ED030F3}" type="presParOf" srcId="{AC9654E8-2012-43A7-9790-89598CB678D8}" destId="{874AA228-C08E-4662-BA39-8FBB8B7DFC5C}" srcOrd="3" destOrd="0" presId="urn:microsoft.com/office/officeart/2005/8/layout/process2"/>
    <dgm:cxn modelId="{7553A076-DA36-40DA-B32E-FAD3C373B0BA}" type="presParOf" srcId="{874AA228-C08E-4662-BA39-8FBB8B7DFC5C}" destId="{A6775BE0-001F-4E71-A398-BB8814CEB07B}" srcOrd="0" destOrd="0" presId="urn:microsoft.com/office/officeart/2005/8/layout/process2"/>
    <dgm:cxn modelId="{B18D81BF-8A03-42C4-9E94-CBB4AE33623A}" type="presParOf" srcId="{AC9654E8-2012-43A7-9790-89598CB678D8}" destId="{19AAC7DD-3AC0-4C3E-8FE2-4B07237CAE77}" srcOrd="4" destOrd="0" presId="urn:microsoft.com/office/officeart/2005/8/layout/process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BBACD31C-A239-46C8-B4BD-2D1C00BF0AA7}" type="doc">
      <dgm:prSet loTypeId="urn:microsoft.com/office/officeart/2005/8/layout/vProcess5" loCatId="process" qsTypeId="urn:microsoft.com/office/officeart/2005/8/quickstyle/simple1" qsCatId="simple" csTypeId="urn:microsoft.com/office/officeart/2005/8/colors/accent3_3" csCatId="accent3" phldr="1"/>
      <dgm:spPr/>
    </dgm:pt>
    <dgm:pt modelId="{6C0F3046-C927-4756-A70E-2029FBFE2C61}">
      <dgm:prSet phldrT="[Text]"/>
      <dgm:spPr/>
      <dgm:t>
        <a:bodyPr/>
        <a:lstStyle/>
        <a:p>
          <a:r>
            <a:rPr lang="en-SG" dirty="0"/>
            <a:t>Test_lda.py</a:t>
          </a:r>
        </a:p>
      </dgm:t>
    </dgm:pt>
    <dgm:pt modelId="{08F40977-8278-42AA-9224-318828203784}" type="parTrans" cxnId="{6DEA3A1D-9EEF-42D8-AD75-E0B59046B133}">
      <dgm:prSet/>
      <dgm:spPr/>
      <dgm:t>
        <a:bodyPr/>
        <a:lstStyle/>
        <a:p>
          <a:endParaRPr lang="en-SG"/>
        </a:p>
      </dgm:t>
    </dgm:pt>
    <dgm:pt modelId="{1B75BE84-5B3F-4039-BE2B-DB68CBB0586B}" type="sibTrans" cxnId="{6DEA3A1D-9EEF-42D8-AD75-E0B59046B133}">
      <dgm:prSet/>
      <dgm:spPr/>
      <dgm:t>
        <a:bodyPr/>
        <a:lstStyle/>
        <a:p>
          <a:endParaRPr lang="en-SG" dirty="0"/>
        </a:p>
      </dgm:t>
    </dgm:pt>
    <dgm:pt modelId="{17932E57-4432-4B7D-B0A8-D0D7F294AA18}">
      <dgm:prSet phldrT="[Text]"/>
      <dgm:spPr/>
      <dgm:t>
        <a:bodyPr/>
        <a:lstStyle/>
        <a:p>
          <a:r>
            <a:rPr lang="en-SG" dirty="0"/>
            <a:t>sklearnLDA_test.py</a:t>
          </a:r>
        </a:p>
      </dgm:t>
    </dgm:pt>
    <dgm:pt modelId="{9E956B64-E5FA-486E-846C-04A94C587B21}" type="parTrans" cxnId="{B7361C8C-76D0-4EE8-9348-535811C43072}">
      <dgm:prSet/>
      <dgm:spPr/>
      <dgm:t>
        <a:bodyPr/>
        <a:lstStyle/>
        <a:p>
          <a:endParaRPr lang="en-SG"/>
        </a:p>
      </dgm:t>
    </dgm:pt>
    <dgm:pt modelId="{E9180F9F-E893-4533-B775-9087C61D4327}" type="sibTrans" cxnId="{B7361C8C-76D0-4EE8-9348-535811C43072}">
      <dgm:prSet/>
      <dgm:spPr/>
      <dgm:t>
        <a:bodyPr/>
        <a:lstStyle/>
        <a:p>
          <a:endParaRPr lang="en-SG" dirty="0"/>
        </a:p>
      </dgm:t>
    </dgm:pt>
    <dgm:pt modelId="{300B4E75-B483-419C-B3FC-B82A2A2B2C09}">
      <dgm:prSet phldrT="[Text]"/>
      <dgm:spPr/>
      <dgm:t>
        <a:bodyPr/>
        <a:lstStyle/>
        <a:p>
          <a:r>
            <a:rPr lang="en-SG" dirty="0"/>
            <a:t>Test prediction</a:t>
          </a:r>
        </a:p>
      </dgm:t>
    </dgm:pt>
    <dgm:pt modelId="{04571844-AA4C-4BD8-A11F-D3865218AA92}" type="parTrans" cxnId="{C06D6897-21A9-4B48-AF5F-7F49DE481A13}">
      <dgm:prSet/>
      <dgm:spPr/>
      <dgm:t>
        <a:bodyPr/>
        <a:lstStyle/>
        <a:p>
          <a:endParaRPr lang="en-SG"/>
        </a:p>
      </dgm:t>
    </dgm:pt>
    <dgm:pt modelId="{F81446D3-5ECC-4FD8-AE18-B34147AEDBA3}" type="sibTrans" cxnId="{C06D6897-21A9-4B48-AF5F-7F49DE481A13}">
      <dgm:prSet/>
      <dgm:spPr/>
      <dgm:t>
        <a:bodyPr/>
        <a:lstStyle/>
        <a:p>
          <a:endParaRPr lang="en-SG"/>
        </a:p>
      </dgm:t>
    </dgm:pt>
    <dgm:pt modelId="{7D8FC826-ED41-462F-949E-33496A43FFFD}" type="pres">
      <dgm:prSet presAssocID="{BBACD31C-A239-46C8-B4BD-2D1C00BF0AA7}" presName="outerComposite" presStyleCnt="0">
        <dgm:presLayoutVars>
          <dgm:chMax val="5"/>
          <dgm:dir/>
          <dgm:resizeHandles val="exact"/>
        </dgm:presLayoutVars>
      </dgm:prSet>
      <dgm:spPr/>
    </dgm:pt>
    <dgm:pt modelId="{E2C8D8DA-A09E-4932-A791-D9A8039B4D34}" type="pres">
      <dgm:prSet presAssocID="{BBACD31C-A239-46C8-B4BD-2D1C00BF0AA7}" presName="dummyMaxCanvas" presStyleCnt="0">
        <dgm:presLayoutVars/>
      </dgm:prSet>
      <dgm:spPr/>
    </dgm:pt>
    <dgm:pt modelId="{16B54878-8165-4D6F-B2AD-AED3CC567F7D}" type="pres">
      <dgm:prSet presAssocID="{BBACD31C-A239-46C8-B4BD-2D1C00BF0AA7}" presName="ThreeNodes_1" presStyleLbl="node1" presStyleIdx="0" presStyleCnt="3">
        <dgm:presLayoutVars>
          <dgm:bulletEnabled val="1"/>
        </dgm:presLayoutVars>
      </dgm:prSet>
      <dgm:spPr/>
    </dgm:pt>
    <dgm:pt modelId="{B0A917A8-1BF6-49E5-8D77-DB90898AD37E}" type="pres">
      <dgm:prSet presAssocID="{BBACD31C-A239-46C8-B4BD-2D1C00BF0AA7}" presName="ThreeNodes_2" presStyleLbl="node1" presStyleIdx="1" presStyleCnt="3">
        <dgm:presLayoutVars>
          <dgm:bulletEnabled val="1"/>
        </dgm:presLayoutVars>
      </dgm:prSet>
      <dgm:spPr/>
    </dgm:pt>
    <dgm:pt modelId="{19C9478D-6018-4204-9C65-6C067BF94DA3}" type="pres">
      <dgm:prSet presAssocID="{BBACD31C-A239-46C8-B4BD-2D1C00BF0AA7}" presName="ThreeNodes_3" presStyleLbl="node1" presStyleIdx="2" presStyleCnt="3">
        <dgm:presLayoutVars>
          <dgm:bulletEnabled val="1"/>
        </dgm:presLayoutVars>
      </dgm:prSet>
      <dgm:spPr/>
    </dgm:pt>
    <dgm:pt modelId="{1537B0C4-8165-4A03-8364-FB7A004C3E41}" type="pres">
      <dgm:prSet presAssocID="{BBACD31C-A239-46C8-B4BD-2D1C00BF0AA7}" presName="ThreeConn_1-2" presStyleLbl="fgAccFollowNode1" presStyleIdx="0" presStyleCnt="2">
        <dgm:presLayoutVars>
          <dgm:bulletEnabled val="1"/>
        </dgm:presLayoutVars>
      </dgm:prSet>
      <dgm:spPr/>
    </dgm:pt>
    <dgm:pt modelId="{D7895774-73ED-4173-BF3C-4C8AFE76184A}" type="pres">
      <dgm:prSet presAssocID="{BBACD31C-A239-46C8-B4BD-2D1C00BF0AA7}" presName="ThreeConn_2-3" presStyleLbl="fgAccFollowNode1" presStyleIdx="1" presStyleCnt="2">
        <dgm:presLayoutVars>
          <dgm:bulletEnabled val="1"/>
        </dgm:presLayoutVars>
      </dgm:prSet>
      <dgm:spPr/>
    </dgm:pt>
    <dgm:pt modelId="{F10FF165-4419-4024-B6F4-1554C5324892}" type="pres">
      <dgm:prSet presAssocID="{BBACD31C-A239-46C8-B4BD-2D1C00BF0AA7}" presName="ThreeNodes_1_text" presStyleLbl="node1" presStyleIdx="2" presStyleCnt="3">
        <dgm:presLayoutVars>
          <dgm:bulletEnabled val="1"/>
        </dgm:presLayoutVars>
      </dgm:prSet>
      <dgm:spPr/>
    </dgm:pt>
    <dgm:pt modelId="{19E892BB-B9C0-45EB-A2D8-62EB971DACDD}" type="pres">
      <dgm:prSet presAssocID="{BBACD31C-A239-46C8-B4BD-2D1C00BF0AA7}" presName="ThreeNodes_2_text" presStyleLbl="node1" presStyleIdx="2" presStyleCnt="3">
        <dgm:presLayoutVars>
          <dgm:bulletEnabled val="1"/>
        </dgm:presLayoutVars>
      </dgm:prSet>
      <dgm:spPr/>
    </dgm:pt>
    <dgm:pt modelId="{A11C2523-74D3-49DE-8704-071EEB5D4847}" type="pres">
      <dgm:prSet presAssocID="{BBACD31C-A239-46C8-B4BD-2D1C00BF0AA7}" presName="ThreeNodes_3_text" presStyleLbl="node1" presStyleIdx="2" presStyleCnt="3">
        <dgm:presLayoutVars>
          <dgm:bulletEnabled val="1"/>
        </dgm:presLayoutVars>
      </dgm:prSet>
      <dgm:spPr/>
    </dgm:pt>
  </dgm:ptLst>
  <dgm:cxnLst>
    <dgm:cxn modelId="{6DEA3A1D-9EEF-42D8-AD75-E0B59046B133}" srcId="{BBACD31C-A239-46C8-B4BD-2D1C00BF0AA7}" destId="{6C0F3046-C927-4756-A70E-2029FBFE2C61}" srcOrd="0" destOrd="0" parTransId="{08F40977-8278-42AA-9224-318828203784}" sibTransId="{1B75BE84-5B3F-4039-BE2B-DB68CBB0586B}"/>
    <dgm:cxn modelId="{74A38642-0CD3-4CEB-894E-BDFC43BC3FA3}" type="presOf" srcId="{17932E57-4432-4B7D-B0A8-D0D7F294AA18}" destId="{19E892BB-B9C0-45EB-A2D8-62EB971DACDD}" srcOrd="1" destOrd="0" presId="urn:microsoft.com/office/officeart/2005/8/layout/vProcess5"/>
    <dgm:cxn modelId="{A72C1769-334F-4E44-90D2-83A54BE11F60}" type="presOf" srcId="{300B4E75-B483-419C-B3FC-B82A2A2B2C09}" destId="{19C9478D-6018-4204-9C65-6C067BF94DA3}" srcOrd="0" destOrd="0" presId="urn:microsoft.com/office/officeart/2005/8/layout/vProcess5"/>
    <dgm:cxn modelId="{6B052450-3803-4E8C-833B-8D7379A34066}" type="presOf" srcId="{BBACD31C-A239-46C8-B4BD-2D1C00BF0AA7}" destId="{7D8FC826-ED41-462F-949E-33496A43FFFD}" srcOrd="0" destOrd="0" presId="urn:microsoft.com/office/officeart/2005/8/layout/vProcess5"/>
    <dgm:cxn modelId="{B7361C8C-76D0-4EE8-9348-535811C43072}" srcId="{BBACD31C-A239-46C8-B4BD-2D1C00BF0AA7}" destId="{17932E57-4432-4B7D-B0A8-D0D7F294AA18}" srcOrd="1" destOrd="0" parTransId="{9E956B64-E5FA-486E-846C-04A94C587B21}" sibTransId="{E9180F9F-E893-4533-B775-9087C61D4327}"/>
    <dgm:cxn modelId="{C06D6897-21A9-4B48-AF5F-7F49DE481A13}" srcId="{BBACD31C-A239-46C8-B4BD-2D1C00BF0AA7}" destId="{300B4E75-B483-419C-B3FC-B82A2A2B2C09}" srcOrd="2" destOrd="0" parTransId="{04571844-AA4C-4BD8-A11F-D3865218AA92}" sibTransId="{F81446D3-5ECC-4FD8-AE18-B34147AEDBA3}"/>
    <dgm:cxn modelId="{41A5F8A4-88C1-4363-A27A-A626FFC3761A}" type="presOf" srcId="{E9180F9F-E893-4533-B775-9087C61D4327}" destId="{D7895774-73ED-4173-BF3C-4C8AFE76184A}" srcOrd="0" destOrd="0" presId="urn:microsoft.com/office/officeart/2005/8/layout/vProcess5"/>
    <dgm:cxn modelId="{6B8598B5-6792-45BE-AADA-D6AA6F3C6D3D}" type="presOf" srcId="{1B75BE84-5B3F-4039-BE2B-DB68CBB0586B}" destId="{1537B0C4-8165-4A03-8364-FB7A004C3E41}" srcOrd="0" destOrd="0" presId="urn:microsoft.com/office/officeart/2005/8/layout/vProcess5"/>
    <dgm:cxn modelId="{65556BCF-7F5D-4BA1-8EA9-6165DA945480}" type="presOf" srcId="{300B4E75-B483-419C-B3FC-B82A2A2B2C09}" destId="{A11C2523-74D3-49DE-8704-071EEB5D4847}" srcOrd="1" destOrd="0" presId="urn:microsoft.com/office/officeart/2005/8/layout/vProcess5"/>
    <dgm:cxn modelId="{043E40EB-A201-4CE4-A431-93825C1FAAEE}" type="presOf" srcId="{6C0F3046-C927-4756-A70E-2029FBFE2C61}" destId="{F10FF165-4419-4024-B6F4-1554C5324892}" srcOrd="1" destOrd="0" presId="urn:microsoft.com/office/officeart/2005/8/layout/vProcess5"/>
    <dgm:cxn modelId="{0D00D1ED-6CD5-4942-96EE-61F7C9EBB201}" type="presOf" srcId="{17932E57-4432-4B7D-B0A8-D0D7F294AA18}" destId="{B0A917A8-1BF6-49E5-8D77-DB90898AD37E}" srcOrd="0" destOrd="0" presId="urn:microsoft.com/office/officeart/2005/8/layout/vProcess5"/>
    <dgm:cxn modelId="{3DE8BAF2-D05B-40C4-8EB3-F39272974A8A}" type="presOf" srcId="{6C0F3046-C927-4756-A70E-2029FBFE2C61}" destId="{16B54878-8165-4D6F-B2AD-AED3CC567F7D}" srcOrd="0" destOrd="0" presId="urn:microsoft.com/office/officeart/2005/8/layout/vProcess5"/>
    <dgm:cxn modelId="{654E23E6-3BBC-4874-877A-8BB26AF910EA}" type="presParOf" srcId="{7D8FC826-ED41-462F-949E-33496A43FFFD}" destId="{E2C8D8DA-A09E-4932-A791-D9A8039B4D34}" srcOrd="0" destOrd="0" presId="urn:microsoft.com/office/officeart/2005/8/layout/vProcess5"/>
    <dgm:cxn modelId="{261673DD-989F-4EB0-9E44-11E3F234DBD6}" type="presParOf" srcId="{7D8FC826-ED41-462F-949E-33496A43FFFD}" destId="{16B54878-8165-4D6F-B2AD-AED3CC567F7D}" srcOrd="1" destOrd="0" presId="urn:microsoft.com/office/officeart/2005/8/layout/vProcess5"/>
    <dgm:cxn modelId="{C36FD410-72FC-4150-B284-2D46550F8BD4}" type="presParOf" srcId="{7D8FC826-ED41-462F-949E-33496A43FFFD}" destId="{B0A917A8-1BF6-49E5-8D77-DB90898AD37E}" srcOrd="2" destOrd="0" presId="urn:microsoft.com/office/officeart/2005/8/layout/vProcess5"/>
    <dgm:cxn modelId="{E592D7AF-F659-4D5C-8BEE-1DDCE88C1047}" type="presParOf" srcId="{7D8FC826-ED41-462F-949E-33496A43FFFD}" destId="{19C9478D-6018-4204-9C65-6C067BF94DA3}" srcOrd="3" destOrd="0" presId="urn:microsoft.com/office/officeart/2005/8/layout/vProcess5"/>
    <dgm:cxn modelId="{AC84B484-2B49-4AB5-A8AF-AFA84B9A73FE}" type="presParOf" srcId="{7D8FC826-ED41-462F-949E-33496A43FFFD}" destId="{1537B0C4-8165-4A03-8364-FB7A004C3E41}" srcOrd="4" destOrd="0" presId="urn:microsoft.com/office/officeart/2005/8/layout/vProcess5"/>
    <dgm:cxn modelId="{38FC2505-F1F8-4E4D-9379-AE5867F2718F}" type="presParOf" srcId="{7D8FC826-ED41-462F-949E-33496A43FFFD}" destId="{D7895774-73ED-4173-BF3C-4C8AFE76184A}" srcOrd="5" destOrd="0" presId="urn:microsoft.com/office/officeart/2005/8/layout/vProcess5"/>
    <dgm:cxn modelId="{15D972F9-DE9C-4B49-A7ED-1CCD3E8AB273}" type="presParOf" srcId="{7D8FC826-ED41-462F-949E-33496A43FFFD}" destId="{F10FF165-4419-4024-B6F4-1554C5324892}" srcOrd="6" destOrd="0" presId="urn:microsoft.com/office/officeart/2005/8/layout/vProcess5"/>
    <dgm:cxn modelId="{9F76A361-49B8-4016-B1AE-E4813195EF57}" type="presParOf" srcId="{7D8FC826-ED41-462F-949E-33496A43FFFD}" destId="{19E892BB-B9C0-45EB-A2D8-62EB971DACDD}" srcOrd="7" destOrd="0" presId="urn:microsoft.com/office/officeart/2005/8/layout/vProcess5"/>
    <dgm:cxn modelId="{4557CB80-9664-4A30-8ACD-5F5707B61FD4}" type="presParOf" srcId="{7D8FC826-ED41-462F-949E-33496A43FFFD}" destId="{A11C2523-74D3-49DE-8704-071EEB5D4847}" srcOrd="8" destOrd="0" presId="urn:microsoft.com/office/officeart/2005/8/layout/vProcess5"/>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FB6FFF4-C3B1-4620-B0F3-591249BAC70D}">
      <dsp:nvSpPr>
        <dsp:cNvPr id="0" name=""/>
        <dsp:cNvSpPr/>
      </dsp:nvSpPr>
      <dsp:spPr>
        <a:xfrm>
          <a:off x="65089" y="1461894"/>
          <a:ext cx="904576" cy="298099"/>
        </a:xfrm>
        <a:prstGeom prst="rect">
          <a:avLst/>
        </a:prstGeom>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SG" sz="1000" kern="1200" dirty="0"/>
            <a:t>Data Extraction</a:t>
          </a:r>
        </a:p>
      </dsp:txBody>
      <dsp:txXfrm>
        <a:off x="65089" y="1461894"/>
        <a:ext cx="904576" cy="298099"/>
      </dsp:txXfrm>
    </dsp:sp>
    <dsp:sp modelId="{F8044E71-4A44-4F6B-9715-88E87E663B30}">
      <dsp:nvSpPr>
        <dsp:cNvPr id="0" name=""/>
        <dsp:cNvSpPr/>
      </dsp:nvSpPr>
      <dsp:spPr>
        <a:xfrm>
          <a:off x="65089" y="2090483"/>
          <a:ext cx="904576" cy="558492"/>
        </a:xfrm>
        <a:prstGeom prst="rect">
          <a:avLst/>
        </a:prstGeom>
        <a:solidFill>
          <a:schemeClr val="accent6">
            <a:alpha val="50000"/>
          </a:schemeClr>
        </a:solidFill>
        <a:ln>
          <a:noFill/>
        </a:ln>
        <a:effectLst/>
      </dsp:spPr>
      <dsp:style>
        <a:lnRef idx="0">
          <a:scrgbClr r="0" g="0" b="0"/>
        </a:lnRef>
        <a:fillRef idx="0">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SG" sz="800" kern="1200" dirty="0"/>
            <a:t>From raw problem descriptions</a:t>
          </a:r>
        </a:p>
      </dsp:txBody>
      <dsp:txXfrm>
        <a:off x="65089" y="2090483"/>
        <a:ext cx="904576" cy="558492"/>
      </dsp:txXfrm>
    </dsp:sp>
    <dsp:sp modelId="{0D867A4E-F6AF-45F7-9C5A-427C1E837ED2}">
      <dsp:nvSpPr>
        <dsp:cNvPr id="0" name=""/>
        <dsp:cNvSpPr/>
      </dsp:nvSpPr>
      <dsp:spPr>
        <a:xfrm>
          <a:off x="64061" y="1371231"/>
          <a:ext cx="71954" cy="7195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4FA3584-ED36-480B-B5D2-C5C4E7798FC4}">
      <dsp:nvSpPr>
        <dsp:cNvPr id="0" name=""/>
        <dsp:cNvSpPr/>
      </dsp:nvSpPr>
      <dsp:spPr>
        <a:xfrm>
          <a:off x="114429" y="1270494"/>
          <a:ext cx="71954" cy="7195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447CC17-4695-4ACC-AE2D-20FAC378B6F8}">
      <dsp:nvSpPr>
        <dsp:cNvPr id="0" name=""/>
        <dsp:cNvSpPr/>
      </dsp:nvSpPr>
      <dsp:spPr>
        <a:xfrm>
          <a:off x="235314" y="1290641"/>
          <a:ext cx="113072" cy="113072"/>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02D72FE-32DC-4AB7-89DC-8DF988E6CA05}">
      <dsp:nvSpPr>
        <dsp:cNvPr id="0" name=""/>
        <dsp:cNvSpPr/>
      </dsp:nvSpPr>
      <dsp:spPr>
        <a:xfrm>
          <a:off x="336051" y="1179830"/>
          <a:ext cx="71954" cy="7195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B340A0D-76DE-44F2-A8DB-431DE6CC110E}">
      <dsp:nvSpPr>
        <dsp:cNvPr id="0" name=""/>
        <dsp:cNvSpPr/>
      </dsp:nvSpPr>
      <dsp:spPr>
        <a:xfrm>
          <a:off x="467009" y="1139536"/>
          <a:ext cx="71954" cy="7195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DA6E6C8-923C-43D8-A9CB-76DABD5ECE72}">
      <dsp:nvSpPr>
        <dsp:cNvPr id="0" name=""/>
        <dsp:cNvSpPr/>
      </dsp:nvSpPr>
      <dsp:spPr>
        <a:xfrm>
          <a:off x="628188" y="1210051"/>
          <a:ext cx="71954" cy="7195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1F3EE40-BE98-49FC-8A13-34169132A98D}">
      <dsp:nvSpPr>
        <dsp:cNvPr id="0" name=""/>
        <dsp:cNvSpPr/>
      </dsp:nvSpPr>
      <dsp:spPr>
        <a:xfrm>
          <a:off x="728925" y="1260420"/>
          <a:ext cx="113072" cy="113072"/>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CAE9800-CCFC-4386-B6AC-45BB2CB9B970}">
      <dsp:nvSpPr>
        <dsp:cNvPr id="0" name=""/>
        <dsp:cNvSpPr/>
      </dsp:nvSpPr>
      <dsp:spPr>
        <a:xfrm>
          <a:off x="869957" y="1371231"/>
          <a:ext cx="71954" cy="7195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7ACAA4D-A84E-4296-9568-386B6F992EA7}">
      <dsp:nvSpPr>
        <dsp:cNvPr id="0" name=""/>
        <dsp:cNvSpPr/>
      </dsp:nvSpPr>
      <dsp:spPr>
        <a:xfrm>
          <a:off x="930399" y="1482041"/>
          <a:ext cx="71954" cy="7195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9B87DAF-1FA6-4198-9321-8E70E9ABEA0C}">
      <dsp:nvSpPr>
        <dsp:cNvPr id="0" name=""/>
        <dsp:cNvSpPr/>
      </dsp:nvSpPr>
      <dsp:spPr>
        <a:xfrm>
          <a:off x="406566" y="1270494"/>
          <a:ext cx="185027" cy="185027"/>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59B5A86-FC2F-4D7F-804A-50D48CEED916}">
      <dsp:nvSpPr>
        <dsp:cNvPr id="0" name=""/>
        <dsp:cNvSpPr/>
      </dsp:nvSpPr>
      <dsp:spPr>
        <a:xfrm>
          <a:off x="13692" y="1653294"/>
          <a:ext cx="71954" cy="7195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B7E70C4-97C2-44C9-A675-E2DDEB10BAF6}">
      <dsp:nvSpPr>
        <dsp:cNvPr id="0" name=""/>
        <dsp:cNvSpPr/>
      </dsp:nvSpPr>
      <dsp:spPr>
        <a:xfrm>
          <a:off x="74134" y="1743957"/>
          <a:ext cx="113072" cy="113072"/>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DFD7102-9646-4B4F-9894-4661F8FD509A}">
      <dsp:nvSpPr>
        <dsp:cNvPr id="0" name=""/>
        <dsp:cNvSpPr/>
      </dsp:nvSpPr>
      <dsp:spPr>
        <a:xfrm>
          <a:off x="225240" y="1824547"/>
          <a:ext cx="164468" cy="164468"/>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BBB05F4-6EB8-46D1-9CE3-0793DAFB12C4}">
      <dsp:nvSpPr>
        <dsp:cNvPr id="0" name=""/>
        <dsp:cNvSpPr/>
      </dsp:nvSpPr>
      <dsp:spPr>
        <a:xfrm>
          <a:off x="436787" y="1955505"/>
          <a:ext cx="71954" cy="7195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CC395C0-A91C-4067-8037-7BA98DC77A09}">
      <dsp:nvSpPr>
        <dsp:cNvPr id="0" name=""/>
        <dsp:cNvSpPr/>
      </dsp:nvSpPr>
      <dsp:spPr>
        <a:xfrm>
          <a:off x="477082" y="1824547"/>
          <a:ext cx="113072" cy="113072"/>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91184A8-6FF9-4E09-B981-97370773D8E9}">
      <dsp:nvSpPr>
        <dsp:cNvPr id="0" name=""/>
        <dsp:cNvSpPr/>
      </dsp:nvSpPr>
      <dsp:spPr>
        <a:xfrm>
          <a:off x="577819" y="1965579"/>
          <a:ext cx="71954" cy="7195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D2369A2-A27C-44CC-AABE-FF55DAA451C6}">
      <dsp:nvSpPr>
        <dsp:cNvPr id="0" name=""/>
        <dsp:cNvSpPr/>
      </dsp:nvSpPr>
      <dsp:spPr>
        <a:xfrm>
          <a:off x="668483" y="1804400"/>
          <a:ext cx="164468" cy="164468"/>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13E1EBD-AFAF-475F-91B3-39D868C9E9DF}">
      <dsp:nvSpPr>
        <dsp:cNvPr id="0" name=""/>
        <dsp:cNvSpPr/>
      </dsp:nvSpPr>
      <dsp:spPr>
        <a:xfrm>
          <a:off x="890104" y="1764105"/>
          <a:ext cx="113072" cy="113072"/>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19BE34D-8E87-4370-9C0B-65015E62126B}">
      <dsp:nvSpPr>
        <dsp:cNvPr id="0" name=""/>
        <dsp:cNvSpPr/>
      </dsp:nvSpPr>
      <dsp:spPr>
        <a:xfrm>
          <a:off x="1003176" y="1290473"/>
          <a:ext cx="332076" cy="633970"/>
        </a:xfrm>
        <a:prstGeom prst="chevron">
          <a:avLst>
            <a:gd name="adj" fmla="val 6231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B6C1380-495C-4C3F-A87B-C81B0F58F17C}">
      <dsp:nvSpPr>
        <dsp:cNvPr id="0" name=""/>
        <dsp:cNvSpPr/>
      </dsp:nvSpPr>
      <dsp:spPr>
        <a:xfrm>
          <a:off x="1335253" y="1290781"/>
          <a:ext cx="905663" cy="633964"/>
        </a:xfrm>
        <a:prstGeom prst="rect">
          <a:avLst/>
        </a:prstGeom>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SG" sz="1000" kern="1200" dirty="0"/>
            <a:t>Elimination of Special characters</a:t>
          </a:r>
        </a:p>
      </dsp:txBody>
      <dsp:txXfrm>
        <a:off x="1335253" y="1290781"/>
        <a:ext cx="905663" cy="633964"/>
      </dsp:txXfrm>
    </dsp:sp>
    <dsp:sp modelId="{608FB1E5-1C02-4875-886D-562150FC837F}">
      <dsp:nvSpPr>
        <dsp:cNvPr id="0" name=""/>
        <dsp:cNvSpPr/>
      </dsp:nvSpPr>
      <dsp:spPr>
        <a:xfrm>
          <a:off x="1335253" y="2090483"/>
          <a:ext cx="905663" cy="558492"/>
        </a:xfrm>
        <a:prstGeom prst="rect">
          <a:avLst/>
        </a:prstGeom>
        <a:solidFill>
          <a:schemeClr val="accent6">
            <a:alpha val="50000"/>
          </a:schemeClr>
        </a:solidFill>
        <a:ln>
          <a:noFill/>
        </a:ln>
        <a:effectLst/>
      </dsp:spPr>
      <dsp:style>
        <a:lnRef idx="0">
          <a:scrgbClr r="0" g="0" b="0"/>
        </a:lnRef>
        <a:fillRef idx="0">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SG" sz="800" b="0" kern="1200" dirty="0"/>
            <a:t>[,\.!?:()/_-] also new line, tab, space</a:t>
          </a:r>
          <a:endParaRPr lang="en-SG" sz="800" kern="1200" dirty="0"/>
        </a:p>
      </dsp:txBody>
      <dsp:txXfrm>
        <a:off x="1335253" y="2090483"/>
        <a:ext cx="905663" cy="558492"/>
      </dsp:txXfrm>
    </dsp:sp>
    <dsp:sp modelId="{A8DD977A-8538-4E8F-91C5-8FC5ADE93119}">
      <dsp:nvSpPr>
        <dsp:cNvPr id="0" name=""/>
        <dsp:cNvSpPr/>
      </dsp:nvSpPr>
      <dsp:spPr>
        <a:xfrm>
          <a:off x="2240917" y="1290473"/>
          <a:ext cx="332076" cy="633970"/>
        </a:xfrm>
        <a:prstGeom prst="chevron">
          <a:avLst>
            <a:gd name="adj" fmla="val 6231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552A141-7B79-4FDB-A0D4-6AC11E5C2667}">
      <dsp:nvSpPr>
        <dsp:cNvPr id="0" name=""/>
        <dsp:cNvSpPr/>
      </dsp:nvSpPr>
      <dsp:spPr>
        <a:xfrm>
          <a:off x="2572993" y="1290781"/>
          <a:ext cx="905663" cy="633964"/>
        </a:xfrm>
        <a:prstGeom prst="rect">
          <a:avLst/>
        </a:prstGeom>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SG" sz="1000" kern="1200" dirty="0"/>
            <a:t>Spell Correction</a:t>
          </a:r>
        </a:p>
      </dsp:txBody>
      <dsp:txXfrm>
        <a:off x="2572993" y="1290781"/>
        <a:ext cx="905663" cy="633964"/>
      </dsp:txXfrm>
    </dsp:sp>
    <dsp:sp modelId="{3845B668-850C-4E6F-9FAB-D790B7C03445}">
      <dsp:nvSpPr>
        <dsp:cNvPr id="0" name=""/>
        <dsp:cNvSpPr/>
      </dsp:nvSpPr>
      <dsp:spPr>
        <a:xfrm>
          <a:off x="2572993" y="2090483"/>
          <a:ext cx="905663" cy="558492"/>
        </a:xfrm>
        <a:prstGeom prst="rect">
          <a:avLst/>
        </a:prstGeom>
        <a:solidFill>
          <a:schemeClr val="accent6">
            <a:alpha val="50000"/>
          </a:schemeClr>
        </a:solidFill>
        <a:ln>
          <a:noFill/>
        </a:ln>
        <a:effectLst/>
      </dsp:spPr>
      <dsp:style>
        <a:lnRef idx="0">
          <a:scrgbClr r="0" g="0" b="0"/>
        </a:lnRef>
        <a:fillRef idx="0">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SG" sz="800" kern="1200" dirty="0"/>
            <a:t>Misspelled words</a:t>
          </a:r>
        </a:p>
      </dsp:txBody>
      <dsp:txXfrm>
        <a:off x="2572993" y="2090483"/>
        <a:ext cx="905663" cy="558492"/>
      </dsp:txXfrm>
    </dsp:sp>
    <dsp:sp modelId="{18209C58-1519-4327-92F8-DDB54F804FFF}">
      <dsp:nvSpPr>
        <dsp:cNvPr id="0" name=""/>
        <dsp:cNvSpPr/>
      </dsp:nvSpPr>
      <dsp:spPr>
        <a:xfrm>
          <a:off x="3478657" y="1290473"/>
          <a:ext cx="332076" cy="633970"/>
        </a:xfrm>
        <a:prstGeom prst="chevron">
          <a:avLst>
            <a:gd name="adj" fmla="val 6231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CD1439E-CBB9-4A03-9D66-1F607B1977B6}">
      <dsp:nvSpPr>
        <dsp:cNvPr id="0" name=""/>
        <dsp:cNvSpPr/>
      </dsp:nvSpPr>
      <dsp:spPr>
        <a:xfrm>
          <a:off x="3941951" y="1290781"/>
          <a:ext cx="905663" cy="633964"/>
        </a:xfrm>
        <a:prstGeom prst="rect">
          <a:avLst/>
        </a:prstGeom>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SG" sz="1000" kern="1200" dirty="0"/>
            <a:t>Removal of Stop Words</a:t>
          </a:r>
        </a:p>
      </dsp:txBody>
      <dsp:txXfrm>
        <a:off x="3941951" y="1290781"/>
        <a:ext cx="905663" cy="633964"/>
      </dsp:txXfrm>
    </dsp:sp>
    <dsp:sp modelId="{7286C81A-E547-49D4-A7CC-DF9864091126}">
      <dsp:nvSpPr>
        <dsp:cNvPr id="0" name=""/>
        <dsp:cNvSpPr/>
      </dsp:nvSpPr>
      <dsp:spPr>
        <a:xfrm>
          <a:off x="3810734" y="2043594"/>
          <a:ext cx="1168097" cy="652269"/>
        </a:xfrm>
        <a:prstGeom prst="rect">
          <a:avLst/>
        </a:prstGeom>
        <a:solidFill>
          <a:schemeClr val="accent6">
            <a:alpha val="50000"/>
          </a:schemeClr>
        </a:solidFill>
        <a:ln>
          <a:noFill/>
        </a:ln>
        <a:effectLst/>
      </dsp:spPr>
      <dsp:style>
        <a:lnRef idx="0">
          <a:scrgbClr r="0" g="0" b="0"/>
        </a:lnRef>
        <a:fillRef idx="0">
          <a:scrgbClr r="0" g="0" b="0"/>
        </a:fillRef>
        <a:effectRef idx="0">
          <a:scrgbClr r="0" g="0" b="0"/>
        </a:effectRef>
        <a:fontRef idx="minor">
          <a:schemeClr val="lt1"/>
        </a:fontRef>
      </dsp:style>
      <dsp:txBody>
        <a:bodyPr spcFirstLastPara="0" vert="horz" wrap="square" lIns="10160" tIns="10160" rIns="10160" bIns="10160" numCol="1" spcCol="1270" anchor="t" anchorCtr="0">
          <a:noAutofit/>
        </a:bodyPr>
        <a:lstStyle/>
        <a:p>
          <a:pPr marL="57150" lvl="1" indent="-57150" algn="ctr" defTabSz="355600">
            <a:lnSpc>
              <a:spcPct val="90000"/>
            </a:lnSpc>
            <a:spcBef>
              <a:spcPct val="0"/>
            </a:spcBef>
            <a:spcAft>
              <a:spcPct val="15000"/>
            </a:spcAft>
            <a:buNone/>
          </a:pPr>
          <a:r>
            <a:rPr lang="en-SG" sz="800" kern="1200" dirty="0"/>
            <a:t>prepositions, interjections, adverbs, pronouns, introductory words</a:t>
          </a:r>
        </a:p>
        <a:p>
          <a:pPr marL="57150" lvl="1" indent="-57150" algn="ctr" defTabSz="355600">
            <a:lnSpc>
              <a:spcPct val="90000"/>
            </a:lnSpc>
            <a:spcBef>
              <a:spcPct val="0"/>
            </a:spcBef>
            <a:spcAft>
              <a:spcPct val="15000"/>
            </a:spcAft>
            <a:buNone/>
          </a:pPr>
          <a:r>
            <a:rPr lang="en-SG" sz="800" kern="1200" dirty="0"/>
            <a:t>Words like mkz, sin, Infineon, Camstar, site. </a:t>
          </a:r>
        </a:p>
      </dsp:txBody>
      <dsp:txXfrm>
        <a:off x="3810734" y="2043594"/>
        <a:ext cx="1168097" cy="652269"/>
      </dsp:txXfrm>
    </dsp:sp>
    <dsp:sp modelId="{DE3FB428-35B5-4638-B7D5-0958DA410461}">
      <dsp:nvSpPr>
        <dsp:cNvPr id="0" name=""/>
        <dsp:cNvSpPr/>
      </dsp:nvSpPr>
      <dsp:spPr>
        <a:xfrm>
          <a:off x="4978832" y="1290473"/>
          <a:ext cx="332076" cy="633970"/>
        </a:xfrm>
        <a:prstGeom prst="chevron">
          <a:avLst>
            <a:gd name="adj" fmla="val 6231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1D86878-FAE0-4B91-8F87-44A3E1DFE9B2}">
      <dsp:nvSpPr>
        <dsp:cNvPr id="0" name=""/>
        <dsp:cNvSpPr/>
      </dsp:nvSpPr>
      <dsp:spPr>
        <a:xfrm>
          <a:off x="5310908" y="1290781"/>
          <a:ext cx="905663" cy="633964"/>
        </a:xfrm>
        <a:prstGeom prst="rect">
          <a:avLst/>
        </a:prstGeom>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SG" sz="1000" kern="1200" dirty="0"/>
            <a:t>Lemmatization</a:t>
          </a:r>
        </a:p>
      </dsp:txBody>
      <dsp:txXfrm>
        <a:off x="5310908" y="1290781"/>
        <a:ext cx="905663" cy="633964"/>
      </dsp:txXfrm>
    </dsp:sp>
    <dsp:sp modelId="{FD45EE1D-0FEA-4E3A-A045-5E94B54C4EF8}">
      <dsp:nvSpPr>
        <dsp:cNvPr id="0" name=""/>
        <dsp:cNvSpPr/>
      </dsp:nvSpPr>
      <dsp:spPr>
        <a:xfrm>
          <a:off x="5310908" y="2090483"/>
          <a:ext cx="905663" cy="558492"/>
        </a:xfrm>
        <a:prstGeom prst="rect">
          <a:avLst/>
        </a:prstGeom>
        <a:solidFill>
          <a:schemeClr val="accent6">
            <a:alpha val="50000"/>
          </a:schemeClr>
        </a:solidFill>
        <a:ln w="9525" cap="flat" cmpd="sng" algn="ctr">
          <a:no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SG" sz="800" kern="1200" dirty="0">
              <a:effectLst/>
            </a:rPr>
            <a:t>To bring back the base form of words. Specifically, the ed, es, s etc. </a:t>
          </a:r>
        </a:p>
      </dsp:txBody>
      <dsp:txXfrm>
        <a:off x="5310908" y="2090483"/>
        <a:ext cx="905663" cy="558492"/>
      </dsp:txXfrm>
    </dsp:sp>
    <dsp:sp modelId="{7DB107B4-BF30-4224-9B4A-57BEB83F511E}">
      <dsp:nvSpPr>
        <dsp:cNvPr id="0" name=""/>
        <dsp:cNvSpPr/>
      </dsp:nvSpPr>
      <dsp:spPr>
        <a:xfrm>
          <a:off x="6216572" y="1290473"/>
          <a:ext cx="332076" cy="633970"/>
        </a:xfrm>
        <a:prstGeom prst="chevron">
          <a:avLst>
            <a:gd name="adj" fmla="val 6231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22458F3-D787-4250-A2F9-84AEE00A8AA2}">
      <dsp:nvSpPr>
        <dsp:cNvPr id="0" name=""/>
        <dsp:cNvSpPr/>
      </dsp:nvSpPr>
      <dsp:spPr>
        <a:xfrm>
          <a:off x="6548649" y="1290781"/>
          <a:ext cx="905663" cy="633964"/>
        </a:xfrm>
        <a:prstGeom prst="rect">
          <a:avLst/>
        </a:prstGeom>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SG" sz="1000" kern="1200" dirty="0"/>
            <a:t>Removal of Non-Dict Words</a:t>
          </a:r>
        </a:p>
      </dsp:txBody>
      <dsp:txXfrm>
        <a:off x="6548649" y="1290781"/>
        <a:ext cx="905663" cy="633964"/>
      </dsp:txXfrm>
    </dsp:sp>
    <dsp:sp modelId="{4E3E3A56-7E8B-4CE7-8B54-5E12913D8142}">
      <dsp:nvSpPr>
        <dsp:cNvPr id="0" name=""/>
        <dsp:cNvSpPr/>
      </dsp:nvSpPr>
      <dsp:spPr>
        <a:xfrm>
          <a:off x="7454313" y="1290473"/>
          <a:ext cx="332076" cy="633970"/>
        </a:xfrm>
        <a:prstGeom prst="chevron">
          <a:avLst>
            <a:gd name="adj" fmla="val 6231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C57B106-0F68-486E-B9C4-BE23B20D3EB0}">
      <dsp:nvSpPr>
        <dsp:cNvPr id="0" name=""/>
        <dsp:cNvSpPr/>
      </dsp:nvSpPr>
      <dsp:spPr>
        <a:xfrm>
          <a:off x="7822616" y="1238081"/>
          <a:ext cx="769814" cy="769814"/>
        </a:xfrm>
        <a:prstGeom prst="ellipse">
          <a:avLst/>
        </a:prstGeom>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r>
            <a:rPr lang="en-SG" sz="1000" kern="1200" dirty="0"/>
            <a:t>Final Sentence for the Model</a:t>
          </a:r>
        </a:p>
      </dsp:txBody>
      <dsp:txXfrm>
        <a:off x="7935353" y="1350818"/>
        <a:ext cx="544340" cy="54434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2360118-798A-400A-8EAC-E2F76D7176C6}">
      <dsp:nvSpPr>
        <dsp:cNvPr id="0" name=""/>
        <dsp:cNvSpPr/>
      </dsp:nvSpPr>
      <dsp:spPr>
        <a:xfrm>
          <a:off x="0" y="0"/>
          <a:ext cx="4392878"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AA8DA47-E470-443F-8A33-AF800948C291}">
      <dsp:nvSpPr>
        <dsp:cNvPr id="0" name=""/>
        <dsp:cNvSpPr/>
      </dsp:nvSpPr>
      <dsp:spPr>
        <a:xfrm>
          <a:off x="0" y="0"/>
          <a:ext cx="878575" cy="1584177"/>
        </a:xfrm>
        <a:prstGeom prst="rect">
          <a:avLst/>
        </a:prstGeom>
        <a:gradFill rotWithShape="1">
          <a:gsLst>
            <a:gs pos="0">
              <a:schemeClr val="accent3">
                <a:tint val="50000"/>
                <a:satMod val="300000"/>
              </a:schemeClr>
            </a:gs>
            <a:gs pos="35000">
              <a:schemeClr val="accent3">
                <a:tint val="37000"/>
                <a:satMod val="300000"/>
              </a:schemeClr>
            </a:gs>
            <a:gs pos="100000">
              <a:schemeClr val="accent3">
                <a:tint val="15000"/>
                <a:satMod val="350000"/>
              </a:schemeClr>
            </a:gs>
          </a:gsLst>
          <a:lin ang="16200000" scaled="1"/>
        </a:gradFill>
        <a:ln w="9525" cap="flat" cmpd="sng" algn="ctr">
          <a:solidFill>
            <a:schemeClr val="accent3">
              <a:shade val="95000"/>
              <a:satMod val="105000"/>
            </a:schemeClr>
          </a:solidFill>
          <a:prstDash val="solid"/>
        </a:ln>
        <a:effectLst>
          <a:outerShdw blurRad="40000" dist="20000" dir="5400000" rotWithShape="0">
            <a:srgbClr val="000000">
              <a:alpha val="38000"/>
            </a:srgbClr>
          </a:outerShdw>
        </a:effectLst>
      </dsp:spPr>
      <dsp:style>
        <a:lnRef idx="1">
          <a:schemeClr val="accent3"/>
        </a:lnRef>
        <a:fillRef idx="2">
          <a:schemeClr val="accent3"/>
        </a:fillRef>
        <a:effectRef idx="1">
          <a:schemeClr val="accent3"/>
        </a:effectRef>
        <a:fontRef idx="minor">
          <a:schemeClr val="dk1"/>
        </a:fontRef>
      </dsp:style>
      <dsp:txBody>
        <a:bodyPr spcFirstLastPara="0" vert="horz" wrap="square" lIns="57150" tIns="57150" rIns="57150" bIns="57150" numCol="1" spcCol="1270" anchor="t" anchorCtr="0">
          <a:noAutofit/>
        </a:bodyPr>
        <a:lstStyle/>
        <a:p>
          <a:pPr marL="0" lvl="0" indent="0" algn="ctr" defTabSz="666750">
            <a:lnSpc>
              <a:spcPct val="90000"/>
            </a:lnSpc>
            <a:spcBef>
              <a:spcPct val="0"/>
            </a:spcBef>
            <a:spcAft>
              <a:spcPct val="35000"/>
            </a:spcAft>
            <a:buNone/>
          </a:pPr>
          <a:r>
            <a:rPr lang="en-SG" sz="1500" kern="1200" dirty="0"/>
            <a:t>Machine learning Models</a:t>
          </a:r>
        </a:p>
      </dsp:txBody>
      <dsp:txXfrm>
        <a:off x="0" y="0"/>
        <a:ext cx="878575" cy="1584177"/>
      </dsp:txXfrm>
    </dsp:sp>
    <dsp:sp modelId="{666BE666-1C8A-47AE-AC64-E8E5A8E9F341}">
      <dsp:nvSpPr>
        <dsp:cNvPr id="0" name=""/>
        <dsp:cNvSpPr/>
      </dsp:nvSpPr>
      <dsp:spPr>
        <a:xfrm>
          <a:off x="944468" y="24714"/>
          <a:ext cx="1105248" cy="494286"/>
        </a:xfrm>
        <a:prstGeom prst="rect">
          <a:avLst/>
        </a:prstGeom>
        <a:gradFill rotWithShape="1">
          <a:gsLst>
            <a:gs pos="0">
              <a:schemeClr val="accent3">
                <a:tint val="50000"/>
                <a:satMod val="300000"/>
              </a:schemeClr>
            </a:gs>
            <a:gs pos="35000">
              <a:schemeClr val="accent3">
                <a:tint val="37000"/>
                <a:satMod val="300000"/>
              </a:schemeClr>
            </a:gs>
            <a:gs pos="100000">
              <a:schemeClr val="accent3">
                <a:tint val="15000"/>
                <a:satMod val="350000"/>
              </a:schemeClr>
            </a:gs>
          </a:gsLst>
          <a:lin ang="16200000" scaled="1"/>
        </a:gradFill>
        <a:ln w="9525" cap="flat" cmpd="sng" algn="ctr">
          <a:solidFill>
            <a:schemeClr val="accent3">
              <a:shade val="95000"/>
              <a:satMod val="105000"/>
            </a:schemeClr>
          </a:solidFill>
          <a:prstDash val="solid"/>
        </a:ln>
        <a:effectLst>
          <a:outerShdw blurRad="40000" dist="20000" dir="5400000" rotWithShape="0">
            <a:srgbClr val="000000">
              <a:alpha val="38000"/>
            </a:srgbClr>
          </a:outerShdw>
        </a:effectLst>
      </dsp:spPr>
      <dsp:style>
        <a:lnRef idx="1">
          <a:schemeClr val="accent3"/>
        </a:lnRef>
        <a:fillRef idx="2">
          <a:schemeClr val="accent3"/>
        </a:fillRef>
        <a:effectRef idx="1">
          <a:schemeClr val="accent3"/>
        </a:effectRef>
        <a:fontRef idx="minor">
          <a:schemeClr val="dk1"/>
        </a:fontRef>
      </dsp:style>
      <dsp:txBody>
        <a:bodyPr spcFirstLastPara="0" vert="horz" wrap="square" lIns="45720" tIns="45720" rIns="45720" bIns="45720" numCol="1" spcCol="1270" anchor="t" anchorCtr="0">
          <a:noAutofit/>
        </a:bodyPr>
        <a:lstStyle/>
        <a:p>
          <a:pPr marL="0" lvl="0" indent="0" algn="ctr" defTabSz="533400">
            <a:lnSpc>
              <a:spcPct val="90000"/>
            </a:lnSpc>
            <a:spcBef>
              <a:spcPct val="0"/>
            </a:spcBef>
            <a:spcAft>
              <a:spcPct val="35000"/>
            </a:spcAft>
            <a:buNone/>
          </a:pPr>
          <a:r>
            <a:rPr lang="en-SG" sz="1200" kern="1200" dirty="0"/>
            <a:t>Supervised</a:t>
          </a:r>
        </a:p>
      </dsp:txBody>
      <dsp:txXfrm>
        <a:off x="944468" y="24714"/>
        <a:ext cx="1105248" cy="494286"/>
      </dsp:txXfrm>
    </dsp:sp>
    <dsp:sp modelId="{25C1C9DA-861D-4D92-8B53-FA3B2373FD47}">
      <dsp:nvSpPr>
        <dsp:cNvPr id="0" name=""/>
        <dsp:cNvSpPr/>
      </dsp:nvSpPr>
      <dsp:spPr>
        <a:xfrm>
          <a:off x="2115610" y="24714"/>
          <a:ext cx="1105248" cy="494281"/>
        </a:xfrm>
        <a:prstGeom prst="rect">
          <a:avLst/>
        </a:prstGeom>
        <a:gradFill rotWithShape="1">
          <a:gsLst>
            <a:gs pos="0">
              <a:schemeClr val="accent3">
                <a:tint val="50000"/>
                <a:satMod val="300000"/>
              </a:schemeClr>
            </a:gs>
            <a:gs pos="35000">
              <a:schemeClr val="accent3">
                <a:tint val="37000"/>
                <a:satMod val="300000"/>
              </a:schemeClr>
            </a:gs>
            <a:gs pos="100000">
              <a:schemeClr val="accent3">
                <a:tint val="15000"/>
                <a:satMod val="350000"/>
              </a:schemeClr>
            </a:gs>
          </a:gsLst>
          <a:lin ang="16200000" scaled="1"/>
        </a:gradFill>
        <a:ln w="9525" cap="flat" cmpd="sng" algn="ctr">
          <a:solidFill>
            <a:schemeClr val="accent3">
              <a:shade val="95000"/>
              <a:satMod val="105000"/>
            </a:schemeClr>
          </a:solidFill>
          <a:prstDash val="solid"/>
        </a:ln>
        <a:effectLst>
          <a:outerShdw blurRad="40000" dist="20000" dir="5400000" rotWithShape="0">
            <a:srgbClr val="000000">
              <a:alpha val="38000"/>
            </a:srgbClr>
          </a:outerShdw>
        </a:effectLst>
      </dsp:spPr>
      <dsp:style>
        <a:lnRef idx="1">
          <a:schemeClr val="accent3"/>
        </a:lnRef>
        <a:fillRef idx="2">
          <a:schemeClr val="accent3"/>
        </a:fillRef>
        <a:effectRef idx="1">
          <a:schemeClr val="accent3"/>
        </a:effectRef>
        <a:fontRef idx="minor">
          <a:schemeClr val="dk1"/>
        </a:fontRef>
      </dsp:style>
      <dsp:txBody>
        <a:bodyPr spcFirstLastPara="0" vert="horz" wrap="square" lIns="30480" tIns="30480" rIns="30480" bIns="30480" numCol="1" spcCol="1270" anchor="t" anchorCtr="0">
          <a:noAutofit/>
        </a:bodyPr>
        <a:lstStyle/>
        <a:p>
          <a:pPr marL="0" lvl="0" indent="0" algn="ctr" defTabSz="355600">
            <a:lnSpc>
              <a:spcPct val="90000"/>
            </a:lnSpc>
            <a:spcBef>
              <a:spcPct val="0"/>
            </a:spcBef>
            <a:spcAft>
              <a:spcPct val="35000"/>
            </a:spcAft>
            <a:buNone/>
          </a:pPr>
          <a:r>
            <a:rPr lang="en-SG" sz="800" kern="1200" dirty="0"/>
            <a:t>Target label available for the model to learn from</a:t>
          </a:r>
        </a:p>
      </dsp:txBody>
      <dsp:txXfrm>
        <a:off x="2115610" y="24714"/>
        <a:ext cx="1105248" cy="494281"/>
      </dsp:txXfrm>
    </dsp:sp>
    <dsp:sp modelId="{DCA6F928-7185-40E9-8AB9-10D7B5E48893}">
      <dsp:nvSpPr>
        <dsp:cNvPr id="0" name=""/>
        <dsp:cNvSpPr/>
      </dsp:nvSpPr>
      <dsp:spPr>
        <a:xfrm>
          <a:off x="3286751" y="24714"/>
          <a:ext cx="1105248" cy="494281"/>
        </a:xfrm>
        <a:prstGeom prst="rect">
          <a:avLst/>
        </a:prstGeom>
        <a:gradFill rotWithShape="1">
          <a:gsLst>
            <a:gs pos="0">
              <a:schemeClr val="accent3">
                <a:tint val="50000"/>
                <a:satMod val="300000"/>
              </a:schemeClr>
            </a:gs>
            <a:gs pos="35000">
              <a:schemeClr val="accent3">
                <a:tint val="37000"/>
                <a:satMod val="300000"/>
              </a:schemeClr>
            </a:gs>
            <a:gs pos="100000">
              <a:schemeClr val="accent3">
                <a:tint val="15000"/>
                <a:satMod val="350000"/>
              </a:schemeClr>
            </a:gs>
          </a:gsLst>
          <a:lin ang="16200000" scaled="1"/>
        </a:gradFill>
        <a:ln w="9525" cap="flat" cmpd="sng" algn="ctr">
          <a:solidFill>
            <a:schemeClr val="accent3">
              <a:shade val="95000"/>
              <a:satMod val="105000"/>
            </a:schemeClr>
          </a:solidFill>
          <a:prstDash val="solid"/>
        </a:ln>
        <a:effectLst>
          <a:outerShdw blurRad="40000" dist="20000" dir="5400000" rotWithShape="0">
            <a:srgbClr val="000000">
              <a:alpha val="38000"/>
            </a:srgbClr>
          </a:outerShdw>
        </a:effectLst>
      </dsp:spPr>
      <dsp:style>
        <a:lnRef idx="1">
          <a:schemeClr val="accent3"/>
        </a:lnRef>
        <a:fillRef idx="2">
          <a:schemeClr val="accent3"/>
        </a:fillRef>
        <a:effectRef idx="1">
          <a:schemeClr val="accent3"/>
        </a:effectRef>
        <a:fontRef idx="minor">
          <a:schemeClr val="dk1"/>
        </a:fontRef>
      </dsp:style>
      <dsp:txBody>
        <a:bodyPr spcFirstLastPara="0" vert="horz" wrap="square" lIns="26670" tIns="26670" rIns="26670" bIns="26670" numCol="1" spcCol="1270" anchor="t" anchorCtr="0">
          <a:noAutofit/>
        </a:bodyPr>
        <a:lstStyle/>
        <a:p>
          <a:pPr marL="0" lvl="0" indent="0" algn="ctr" defTabSz="311150">
            <a:lnSpc>
              <a:spcPct val="90000"/>
            </a:lnSpc>
            <a:spcBef>
              <a:spcPct val="0"/>
            </a:spcBef>
            <a:spcAft>
              <a:spcPct val="35000"/>
            </a:spcAft>
            <a:buNone/>
          </a:pPr>
          <a:r>
            <a:rPr lang="en-SG" sz="700" kern="1200" dirty="0"/>
            <a:t>Require human intervention to label the data</a:t>
          </a:r>
        </a:p>
      </dsp:txBody>
      <dsp:txXfrm>
        <a:off x="3286751" y="24714"/>
        <a:ext cx="1105248" cy="494281"/>
      </dsp:txXfrm>
    </dsp:sp>
    <dsp:sp modelId="{76874B9A-D265-48F0-99CE-EDE66E93788F}">
      <dsp:nvSpPr>
        <dsp:cNvPr id="0" name=""/>
        <dsp:cNvSpPr/>
      </dsp:nvSpPr>
      <dsp:spPr>
        <a:xfrm>
          <a:off x="878575" y="519000"/>
          <a:ext cx="3514302"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A896E78-DF8F-4465-AF0D-E4D7224CDBEA}">
      <dsp:nvSpPr>
        <dsp:cNvPr id="0" name=""/>
        <dsp:cNvSpPr/>
      </dsp:nvSpPr>
      <dsp:spPr>
        <a:xfrm>
          <a:off x="944468" y="543714"/>
          <a:ext cx="1105248" cy="494281"/>
        </a:xfrm>
        <a:prstGeom prst="rect">
          <a:avLst/>
        </a:prstGeom>
        <a:gradFill rotWithShape="1">
          <a:gsLst>
            <a:gs pos="0">
              <a:schemeClr val="accent3">
                <a:tint val="50000"/>
                <a:satMod val="300000"/>
              </a:schemeClr>
            </a:gs>
            <a:gs pos="35000">
              <a:schemeClr val="accent3">
                <a:tint val="37000"/>
                <a:satMod val="300000"/>
              </a:schemeClr>
            </a:gs>
            <a:gs pos="100000">
              <a:schemeClr val="accent3">
                <a:tint val="15000"/>
                <a:satMod val="350000"/>
              </a:schemeClr>
            </a:gs>
          </a:gsLst>
          <a:lin ang="16200000" scaled="1"/>
        </a:gradFill>
        <a:ln w="9525" cap="flat" cmpd="sng" algn="ctr">
          <a:solidFill>
            <a:schemeClr val="accent3">
              <a:shade val="95000"/>
              <a:satMod val="105000"/>
            </a:schemeClr>
          </a:solidFill>
          <a:prstDash val="solid"/>
        </a:ln>
        <a:effectLst>
          <a:outerShdw blurRad="40000" dist="20000" dir="5400000" rotWithShape="0">
            <a:srgbClr val="000000">
              <a:alpha val="38000"/>
            </a:srgbClr>
          </a:outerShdw>
        </a:effectLst>
      </dsp:spPr>
      <dsp:style>
        <a:lnRef idx="1">
          <a:schemeClr val="accent3"/>
        </a:lnRef>
        <a:fillRef idx="2">
          <a:schemeClr val="accent3"/>
        </a:fillRef>
        <a:effectRef idx="1">
          <a:schemeClr val="accent3"/>
        </a:effectRef>
        <a:fontRef idx="minor">
          <a:schemeClr val="dk1"/>
        </a:fontRef>
      </dsp:style>
      <dsp:txBody>
        <a:bodyPr spcFirstLastPara="0" vert="horz" wrap="square" lIns="45720" tIns="45720" rIns="45720" bIns="45720" numCol="1" spcCol="1270" anchor="t" anchorCtr="0">
          <a:noAutofit/>
        </a:bodyPr>
        <a:lstStyle/>
        <a:p>
          <a:pPr marL="0" lvl="0" indent="0" algn="ctr" defTabSz="533400">
            <a:lnSpc>
              <a:spcPct val="90000"/>
            </a:lnSpc>
            <a:spcBef>
              <a:spcPct val="0"/>
            </a:spcBef>
            <a:spcAft>
              <a:spcPct val="35000"/>
            </a:spcAft>
            <a:buNone/>
          </a:pPr>
          <a:r>
            <a:rPr lang="en-SG" sz="1200" kern="1200" dirty="0"/>
            <a:t>Unsupervised</a:t>
          </a:r>
        </a:p>
      </dsp:txBody>
      <dsp:txXfrm>
        <a:off x="944468" y="543714"/>
        <a:ext cx="1105248" cy="494281"/>
      </dsp:txXfrm>
    </dsp:sp>
    <dsp:sp modelId="{6201EADB-79E9-4C89-A0B2-099EBAC0E935}">
      <dsp:nvSpPr>
        <dsp:cNvPr id="0" name=""/>
        <dsp:cNvSpPr/>
      </dsp:nvSpPr>
      <dsp:spPr>
        <a:xfrm>
          <a:off x="2115610" y="543714"/>
          <a:ext cx="1105248" cy="494281"/>
        </a:xfrm>
        <a:prstGeom prst="rect">
          <a:avLst/>
        </a:prstGeom>
        <a:gradFill rotWithShape="1">
          <a:gsLst>
            <a:gs pos="0">
              <a:schemeClr val="accent3">
                <a:tint val="50000"/>
                <a:satMod val="300000"/>
              </a:schemeClr>
            </a:gs>
            <a:gs pos="35000">
              <a:schemeClr val="accent3">
                <a:tint val="37000"/>
                <a:satMod val="300000"/>
              </a:schemeClr>
            </a:gs>
            <a:gs pos="100000">
              <a:schemeClr val="accent3">
                <a:tint val="15000"/>
                <a:satMod val="350000"/>
              </a:schemeClr>
            </a:gs>
          </a:gsLst>
          <a:lin ang="16200000" scaled="1"/>
        </a:gradFill>
        <a:ln w="9525" cap="flat" cmpd="sng" algn="ctr">
          <a:solidFill>
            <a:schemeClr val="accent3">
              <a:shade val="95000"/>
              <a:satMod val="105000"/>
            </a:schemeClr>
          </a:solidFill>
          <a:prstDash val="solid"/>
        </a:ln>
        <a:effectLst>
          <a:outerShdw blurRad="40000" dist="20000" dir="5400000" rotWithShape="0">
            <a:srgbClr val="000000">
              <a:alpha val="38000"/>
            </a:srgbClr>
          </a:outerShdw>
        </a:effectLst>
      </dsp:spPr>
      <dsp:style>
        <a:lnRef idx="1">
          <a:schemeClr val="accent3"/>
        </a:lnRef>
        <a:fillRef idx="2">
          <a:schemeClr val="accent3"/>
        </a:fillRef>
        <a:effectRef idx="1">
          <a:schemeClr val="accent3"/>
        </a:effectRef>
        <a:fontRef idx="minor">
          <a:schemeClr val="dk1"/>
        </a:fontRef>
      </dsp:style>
      <dsp:txBody>
        <a:bodyPr spcFirstLastPara="0" vert="horz" wrap="square" lIns="30480" tIns="30480" rIns="30480" bIns="30480" numCol="1" spcCol="1270" anchor="t" anchorCtr="0">
          <a:noAutofit/>
        </a:bodyPr>
        <a:lstStyle/>
        <a:p>
          <a:pPr marL="0" lvl="0" indent="0" algn="ctr" defTabSz="355600">
            <a:lnSpc>
              <a:spcPct val="90000"/>
            </a:lnSpc>
            <a:spcBef>
              <a:spcPct val="0"/>
            </a:spcBef>
            <a:spcAft>
              <a:spcPct val="35000"/>
            </a:spcAft>
            <a:buNone/>
          </a:pPr>
          <a:r>
            <a:rPr lang="en-SG" sz="800" kern="1200" dirty="0"/>
            <a:t>Model learns by evaluating the data pattern </a:t>
          </a:r>
        </a:p>
      </dsp:txBody>
      <dsp:txXfrm>
        <a:off x="2115610" y="543714"/>
        <a:ext cx="1105248" cy="494281"/>
      </dsp:txXfrm>
    </dsp:sp>
    <dsp:sp modelId="{F4C60B90-7FA5-4ECA-8B6A-4F83C8A383E3}">
      <dsp:nvSpPr>
        <dsp:cNvPr id="0" name=""/>
        <dsp:cNvSpPr/>
      </dsp:nvSpPr>
      <dsp:spPr>
        <a:xfrm>
          <a:off x="3286751" y="543714"/>
          <a:ext cx="1105248" cy="494281"/>
        </a:xfrm>
        <a:prstGeom prst="rect">
          <a:avLst/>
        </a:prstGeom>
        <a:gradFill rotWithShape="1">
          <a:gsLst>
            <a:gs pos="0">
              <a:schemeClr val="accent3">
                <a:tint val="50000"/>
                <a:satMod val="300000"/>
              </a:schemeClr>
            </a:gs>
            <a:gs pos="35000">
              <a:schemeClr val="accent3">
                <a:tint val="37000"/>
                <a:satMod val="300000"/>
              </a:schemeClr>
            </a:gs>
            <a:gs pos="100000">
              <a:schemeClr val="accent3">
                <a:tint val="15000"/>
                <a:satMod val="350000"/>
              </a:schemeClr>
            </a:gs>
          </a:gsLst>
          <a:lin ang="16200000" scaled="1"/>
        </a:gradFill>
        <a:ln w="9525" cap="flat" cmpd="sng" algn="ctr">
          <a:solidFill>
            <a:schemeClr val="accent3">
              <a:shade val="95000"/>
              <a:satMod val="105000"/>
            </a:schemeClr>
          </a:solidFill>
          <a:prstDash val="solid"/>
        </a:ln>
        <a:effectLst>
          <a:outerShdw blurRad="40000" dist="20000" dir="5400000" rotWithShape="0">
            <a:srgbClr val="000000">
              <a:alpha val="38000"/>
            </a:srgbClr>
          </a:outerShdw>
        </a:effectLst>
      </dsp:spPr>
      <dsp:style>
        <a:lnRef idx="1">
          <a:schemeClr val="accent3"/>
        </a:lnRef>
        <a:fillRef idx="2">
          <a:schemeClr val="accent3"/>
        </a:fillRef>
        <a:effectRef idx="1">
          <a:schemeClr val="accent3"/>
        </a:effectRef>
        <a:fontRef idx="minor">
          <a:schemeClr val="dk1"/>
        </a:fontRef>
      </dsp:style>
      <dsp:txBody>
        <a:bodyPr spcFirstLastPara="0" vert="horz" wrap="square" lIns="26670" tIns="26670" rIns="26670" bIns="26670" numCol="1" spcCol="1270" anchor="t" anchorCtr="0">
          <a:noAutofit/>
        </a:bodyPr>
        <a:lstStyle/>
        <a:p>
          <a:pPr marL="0" lvl="0" indent="0" algn="ctr" defTabSz="311150">
            <a:lnSpc>
              <a:spcPct val="90000"/>
            </a:lnSpc>
            <a:spcBef>
              <a:spcPct val="0"/>
            </a:spcBef>
            <a:spcAft>
              <a:spcPct val="35000"/>
            </a:spcAft>
            <a:buNone/>
          </a:pPr>
          <a:r>
            <a:rPr lang="en-SG" sz="700" kern="1200" dirty="0"/>
            <a:t>Require human intervention for validating output</a:t>
          </a:r>
        </a:p>
      </dsp:txBody>
      <dsp:txXfrm>
        <a:off x="3286751" y="543714"/>
        <a:ext cx="1105248" cy="494281"/>
      </dsp:txXfrm>
    </dsp:sp>
    <dsp:sp modelId="{E9896DC2-A9C4-440F-8A2F-66DA7E0EA950}">
      <dsp:nvSpPr>
        <dsp:cNvPr id="0" name=""/>
        <dsp:cNvSpPr/>
      </dsp:nvSpPr>
      <dsp:spPr>
        <a:xfrm>
          <a:off x="878575" y="1037996"/>
          <a:ext cx="3514302"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B27E708-A2EA-480A-BFB3-FC4CC6410E9D}">
      <dsp:nvSpPr>
        <dsp:cNvPr id="0" name=""/>
        <dsp:cNvSpPr/>
      </dsp:nvSpPr>
      <dsp:spPr>
        <a:xfrm>
          <a:off x="944468" y="1062710"/>
          <a:ext cx="1105248" cy="494281"/>
        </a:xfrm>
        <a:prstGeom prst="rect">
          <a:avLst/>
        </a:prstGeom>
        <a:gradFill rotWithShape="1">
          <a:gsLst>
            <a:gs pos="0">
              <a:schemeClr val="accent3">
                <a:tint val="50000"/>
                <a:satMod val="300000"/>
              </a:schemeClr>
            </a:gs>
            <a:gs pos="35000">
              <a:schemeClr val="accent3">
                <a:tint val="37000"/>
                <a:satMod val="300000"/>
              </a:schemeClr>
            </a:gs>
            <a:gs pos="100000">
              <a:schemeClr val="accent3">
                <a:tint val="15000"/>
                <a:satMod val="350000"/>
              </a:schemeClr>
            </a:gs>
          </a:gsLst>
          <a:lin ang="16200000" scaled="1"/>
        </a:gradFill>
        <a:ln w="9525" cap="flat" cmpd="sng" algn="ctr">
          <a:solidFill>
            <a:schemeClr val="accent3">
              <a:shade val="95000"/>
              <a:satMod val="105000"/>
            </a:schemeClr>
          </a:solidFill>
          <a:prstDash val="solid"/>
        </a:ln>
        <a:effectLst>
          <a:outerShdw blurRad="40000" dist="20000" dir="5400000" rotWithShape="0">
            <a:srgbClr val="000000">
              <a:alpha val="38000"/>
            </a:srgbClr>
          </a:outerShdw>
        </a:effectLst>
      </dsp:spPr>
      <dsp:style>
        <a:lnRef idx="1">
          <a:schemeClr val="accent3"/>
        </a:lnRef>
        <a:fillRef idx="2">
          <a:schemeClr val="accent3"/>
        </a:fillRef>
        <a:effectRef idx="1">
          <a:schemeClr val="accent3"/>
        </a:effectRef>
        <a:fontRef idx="minor">
          <a:schemeClr val="dk1"/>
        </a:fontRef>
      </dsp:style>
      <dsp:txBody>
        <a:bodyPr spcFirstLastPara="0" vert="horz" wrap="square" lIns="45720" tIns="45720" rIns="45720" bIns="45720" numCol="1" spcCol="1270" anchor="t" anchorCtr="0">
          <a:noAutofit/>
        </a:bodyPr>
        <a:lstStyle/>
        <a:p>
          <a:pPr marL="0" lvl="0" indent="0" algn="ctr" defTabSz="533400">
            <a:lnSpc>
              <a:spcPct val="90000"/>
            </a:lnSpc>
            <a:spcBef>
              <a:spcPct val="0"/>
            </a:spcBef>
            <a:spcAft>
              <a:spcPct val="35000"/>
            </a:spcAft>
            <a:buNone/>
          </a:pPr>
          <a:r>
            <a:rPr lang="en-SG" sz="1200" kern="1200" dirty="0"/>
            <a:t>Reinforcement learning</a:t>
          </a:r>
        </a:p>
      </dsp:txBody>
      <dsp:txXfrm>
        <a:off x="944468" y="1062710"/>
        <a:ext cx="1105248" cy="494281"/>
      </dsp:txXfrm>
    </dsp:sp>
    <dsp:sp modelId="{EB14C99A-8A29-4DEE-827F-30F59D500F93}">
      <dsp:nvSpPr>
        <dsp:cNvPr id="0" name=""/>
        <dsp:cNvSpPr/>
      </dsp:nvSpPr>
      <dsp:spPr>
        <a:xfrm>
          <a:off x="2115610" y="1062710"/>
          <a:ext cx="1105248" cy="494281"/>
        </a:xfrm>
        <a:prstGeom prst="rect">
          <a:avLst/>
        </a:prstGeom>
        <a:gradFill rotWithShape="1">
          <a:gsLst>
            <a:gs pos="0">
              <a:schemeClr val="accent3">
                <a:tint val="50000"/>
                <a:satMod val="300000"/>
              </a:schemeClr>
            </a:gs>
            <a:gs pos="35000">
              <a:schemeClr val="accent3">
                <a:tint val="37000"/>
                <a:satMod val="300000"/>
              </a:schemeClr>
            </a:gs>
            <a:gs pos="100000">
              <a:schemeClr val="accent3">
                <a:tint val="15000"/>
                <a:satMod val="350000"/>
              </a:schemeClr>
            </a:gs>
          </a:gsLst>
          <a:lin ang="16200000" scaled="1"/>
        </a:gradFill>
        <a:ln w="9525" cap="flat" cmpd="sng" algn="ctr">
          <a:solidFill>
            <a:schemeClr val="accent3">
              <a:shade val="95000"/>
              <a:satMod val="105000"/>
            </a:schemeClr>
          </a:solidFill>
          <a:prstDash val="solid"/>
        </a:ln>
        <a:effectLst>
          <a:outerShdw blurRad="40000" dist="20000" dir="5400000" rotWithShape="0">
            <a:srgbClr val="000000">
              <a:alpha val="38000"/>
            </a:srgbClr>
          </a:outerShdw>
        </a:effectLst>
      </dsp:spPr>
      <dsp:style>
        <a:lnRef idx="1">
          <a:schemeClr val="accent3"/>
        </a:lnRef>
        <a:fillRef idx="2">
          <a:schemeClr val="accent3"/>
        </a:fillRef>
        <a:effectRef idx="1">
          <a:schemeClr val="accent3"/>
        </a:effectRef>
        <a:fontRef idx="minor">
          <a:schemeClr val="dk1"/>
        </a:fontRef>
      </dsp:style>
      <dsp:txBody>
        <a:bodyPr spcFirstLastPara="0" vert="horz" wrap="square" lIns="30480" tIns="30480" rIns="30480" bIns="30480" numCol="1" spcCol="1270" anchor="t" anchorCtr="0">
          <a:noAutofit/>
        </a:bodyPr>
        <a:lstStyle/>
        <a:p>
          <a:pPr marL="0" lvl="0" indent="0" algn="ctr" defTabSz="355600">
            <a:lnSpc>
              <a:spcPct val="90000"/>
            </a:lnSpc>
            <a:spcBef>
              <a:spcPct val="0"/>
            </a:spcBef>
            <a:spcAft>
              <a:spcPct val="35000"/>
            </a:spcAft>
            <a:buNone/>
          </a:pPr>
          <a:r>
            <a:rPr lang="en-SG" sz="800" kern="1200" dirty="0"/>
            <a:t>Learn from environment on the basis of rewarding strategy</a:t>
          </a:r>
        </a:p>
      </dsp:txBody>
      <dsp:txXfrm>
        <a:off x="2115610" y="1062710"/>
        <a:ext cx="1105248" cy="494281"/>
      </dsp:txXfrm>
    </dsp:sp>
    <dsp:sp modelId="{E1BB0A2F-AF9D-4F8E-9BA3-F677C3CF1C86}">
      <dsp:nvSpPr>
        <dsp:cNvPr id="0" name=""/>
        <dsp:cNvSpPr/>
      </dsp:nvSpPr>
      <dsp:spPr>
        <a:xfrm>
          <a:off x="3286751" y="1062710"/>
          <a:ext cx="1105248" cy="494281"/>
        </a:xfrm>
        <a:prstGeom prst="rect">
          <a:avLst/>
        </a:prstGeom>
        <a:gradFill rotWithShape="1">
          <a:gsLst>
            <a:gs pos="0">
              <a:schemeClr val="accent3">
                <a:tint val="50000"/>
                <a:satMod val="300000"/>
              </a:schemeClr>
            </a:gs>
            <a:gs pos="35000">
              <a:schemeClr val="accent3">
                <a:tint val="37000"/>
                <a:satMod val="300000"/>
              </a:schemeClr>
            </a:gs>
            <a:gs pos="100000">
              <a:schemeClr val="accent3">
                <a:tint val="15000"/>
                <a:satMod val="350000"/>
              </a:schemeClr>
            </a:gs>
          </a:gsLst>
          <a:lin ang="16200000" scaled="1"/>
        </a:gradFill>
        <a:ln w="9525" cap="flat" cmpd="sng" algn="ctr">
          <a:solidFill>
            <a:schemeClr val="accent3">
              <a:shade val="95000"/>
              <a:satMod val="105000"/>
            </a:schemeClr>
          </a:solidFill>
          <a:prstDash val="solid"/>
        </a:ln>
        <a:effectLst>
          <a:outerShdw blurRad="40000" dist="20000" dir="5400000" rotWithShape="0">
            <a:srgbClr val="000000">
              <a:alpha val="38000"/>
            </a:srgbClr>
          </a:outerShdw>
        </a:effectLst>
      </dsp:spPr>
      <dsp:style>
        <a:lnRef idx="1">
          <a:schemeClr val="accent3"/>
        </a:lnRef>
        <a:fillRef idx="2">
          <a:schemeClr val="accent3"/>
        </a:fillRef>
        <a:effectRef idx="1">
          <a:schemeClr val="accent3"/>
        </a:effectRef>
        <a:fontRef idx="minor">
          <a:schemeClr val="dk1"/>
        </a:fontRef>
      </dsp:style>
      <dsp:txBody>
        <a:bodyPr spcFirstLastPara="0" vert="horz" wrap="square" lIns="26670" tIns="26670" rIns="26670" bIns="26670" numCol="1" spcCol="1270" anchor="t" anchorCtr="0">
          <a:noAutofit/>
        </a:bodyPr>
        <a:lstStyle/>
        <a:p>
          <a:pPr marL="0" lvl="0" indent="0" algn="ctr" defTabSz="311150">
            <a:lnSpc>
              <a:spcPct val="90000"/>
            </a:lnSpc>
            <a:spcBef>
              <a:spcPct val="0"/>
            </a:spcBef>
            <a:spcAft>
              <a:spcPct val="35000"/>
            </a:spcAft>
            <a:buNone/>
          </a:pPr>
          <a:r>
            <a:rPr lang="en-SG" sz="700" kern="1200" dirty="0"/>
            <a:t>Standard agents require constant monitoring of human to decide on when to intervene</a:t>
          </a:r>
        </a:p>
      </dsp:txBody>
      <dsp:txXfrm>
        <a:off x="3286751" y="1062710"/>
        <a:ext cx="1105248" cy="494281"/>
      </dsp:txXfrm>
    </dsp:sp>
    <dsp:sp modelId="{600D49F3-1594-43C2-B075-D5EAEC507251}">
      <dsp:nvSpPr>
        <dsp:cNvPr id="0" name=""/>
        <dsp:cNvSpPr/>
      </dsp:nvSpPr>
      <dsp:spPr>
        <a:xfrm>
          <a:off x="878575" y="1556992"/>
          <a:ext cx="3514302"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A041299-C5FE-4EF8-9EBD-50D8E13C9E40}">
      <dsp:nvSpPr>
        <dsp:cNvPr id="0" name=""/>
        <dsp:cNvSpPr/>
      </dsp:nvSpPr>
      <dsp:spPr>
        <a:xfrm>
          <a:off x="34248" y="171214"/>
          <a:ext cx="1571259" cy="467817"/>
        </a:xfrm>
        <a:prstGeom prst="chevron">
          <a:avLst/>
        </a:prstGeom>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17780" tIns="8890" rIns="0" bIns="8890" numCol="1" spcCol="1270" anchor="ctr" anchorCtr="0">
          <a:noAutofit/>
        </a:bodyPr>
        <a:lstStyle/>
        <a:p>
          <a:pPr marL="0" lvl="0" indent="0" algn="ctr" defTabSz="622300">
            <a:lnSpc>
              <a:spcPct val="90000"/>
            </a:lnSpc>
            <a:spcBef>
              <a:spcPct val="0"/>
            </a:spcBef>
            <a:spcAft>
              <a:spcPct val="35000"/>
            </a:spcAft>
            <a:buNone/>
          </a:pPr>
          <a:r>
            <a:rPr lang="en-SG" sz="1400" kern="1200" dirty="0"/>
            <a:t>BERTTopic</a:t>
          </a:r>
        </a:p>
      </dsp:txBody>
      <dsp:txXfrm>
        <a:off x="268157" y="171214"/>
        <a:ext cx="1103442" cy="467817"/>
      </dsp:txXfrm>
    </dsp:sp>
    <dsp:sp modelId="{4C73F09A-3EE9-4575-8D3D-CDBD0725A8B8}">
      <dsp:nvSpPr>
        <dsp:cNvPr id="0" name=""/>
        <dsp:cNvSpPr/>
      </dsp:nvSpPr>
      <dsp:spPr>
        <a:xfrm>
          <a:off x="1428476" y="210978"/>
          <a:ext cx="3467487" cy="388288"/>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780" tIns="8890" rIns="0" bIns="8890" numCol="1" spcCol="1270" anchor="ctr" anchorCtr="0">
          <a:noAutofit/>
        </a:bodyPr>
        <a:lstStyle/>
        <a:p>
          <a:pPr marL="0" lvl="0" indent="0" algn="ctr" defTabSz="622300">
            <a:lnSpc>
              <a:spcPct val="90000"/>
            </a:lnSpc>
            <a:spcBef>
              <a:spcPct val="0"/>
            </a:spcBef>
            <a:spcAft>
              <a:spcPct val="35000"/>
            </a:spcAft>
            <a:buNone/>
          </a:pPr>
          <a:r>
            <a:rPr lang="en-SG" sz="1400" b="0" kern="1200" dirty="0">
              <a:latin typeface="+mn-lt"/>
            </a:rPr>
            <a:t>A pretrained model from </a:t>
          </a:r>
          <a:r>
            <a:rPr lang="en-SG" sz="1400" b="1" kern="1200" dirty="0">
              <a:latin typeface="+mn-lt"/>
            </a:rPr>
            <a:t>HUGGINGFACE</a:t>
          </a:r>
        </a:p>
      </dsp:txBody>
      <dsp:txXfrm>
        <a:off x="1622620" y="210978"/>
        <a:ext cx="3079199" cy="388288"/>
      </dsp:txXfrm>
    </dsp:sp>
    <dsp:sp modelId="{89FA3434-2062-4BC8-9E82-757FA97B5EA0}">
      <dsp:nvSpPr>
        <dsp:cNvPr id="0" name=""/>
        <dsp:cNvSpPr/>
      </dsp:nvSpPr>
      <dsp:spPr>
        <a:xfrm>
          <a:off x="403" y="893964"/>
          <a:ext cx="1853587" cy="467817"/>
        </a:xfrm>
        <a:prstGeom prst="chevron">
          <a:avLst/>
        </a:prstGeom>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17780" tIns="8890" rIns="0" bIns="8890" numCol="1" spcCol="1270" anchor="ctr" anchorCtr="0">
          <a:noAutofit/>
        </a:bodyPr>
        <a:lstStyle/>
        <a:p>
          <a:pPr marL="0" lvl="0" indent="0" algn="ctr" defTabSz="622300">
            <a:lnSpc>
              <a:spcPct val="90000"/>
            </a:lnSpc>
            <a:spcBef>
              <a:spcPct val="0"/>
            </a:spcBef>
            <a:spcAft>
              <a:spcPct val="35000"/>
            </a:spcAft>
            <a:buNone/>
          </a:pPr>
          <a:r>
            <a:rPr lang="en-SG" sz="1400" kern="1200" dirty="0"/>
            <a:t>Gensim LDA </a:t>
          </a:r>
        </a:p>
      </dsp:txBody>
      <dsp:txXfrm>
        <a:off x="234312" y="893964"/>
        <a:ext cx="1385770" cy="467817"/>
      </dsp:txXfrm>
    </dsp:sp>
    <dsp:sp modelId="{0B8A6A90-98A9-4127-9832-0D3586B56FD6}">
      <dsp:nvSpPr>
        <dsp:cNvPr id="0" name=""/>
        <dsp:cNvSpPr/>
      </dsp:nvSpPr>
      <dsp:spPr>
        <a:xfrm>
          <a:off x="1701950" y="933729"/>
          <a:ext cx="3234193" cy="388288"/>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780" tIns="8890" rIns="0" bIns="8890" numCol="1" spcCol="1270" anchor="ctr" anchorCtr="0">
          <a:noAutofit/>
        </a:bodyPr>
        <a:lstStyle/>
        <a:p>
          <a:pPr marL="0" lvl="0" indent="0" algn="ctr" defTabSz="622300">
            <a:lnSpc>
              <a:spcPct val="90000"/>
            </a:lnSpc>
            <a:spcBef>
              <a:spcPct val="0"/>
            </a:spcBef>
            <a:spcAft>
              <a:spcPct val="35000"/>
            </a:spcAft>
            <a:buNone/>
          </a:pPr>
          <a:r>
            <a:rPr lang="en-SG" sz="1400" kern="1200" dirty="0"/>
            <a:t>The algorithm depends on the LDA technique</a:t>
          </a:r>
        </a:p>
      </dsp:txBody>
      <dsp:txXfrm>
        <a:off x="1896094" y="933729"/>
        <a:ext cx="2845905" cy="388288"/>
      </dsp:txXfrm>
    </dsp:sp>
    <dsp:sp modelId="{B0127067-B32E-4B31-913E-B2A1F900CAC8}">
      <dsp:nvSpPr>
        <dsp:cNvPr id="0" name=""/>
        <dsp:cNvSpPr/>
      </dsp:nvSpPr>
      <dsp:spPr>
        <a:xfrm>
          <a:off x="403" y="1427277"/>
          <a:ext cx="1829588" cy="467817"/>
        </a:xfrm>
        <a:prstGeom prst="chevron">
          <a:avLst/>
        </a:prstGeom>
        <a:gradFill rotWithShape="1">
          <a:gsLst>
            <a:gs pos="0">
              <a:schemeClr val="accent3">
                <a:tint val="50000"/>
                <a:satMod val="300000"/>
              </a:schemeClr>
            </a:gs>
            <a:gs pos="35000">
              <a:schemeClr val="accent3">
                <a:tint val="37000"/>
                <a:satMod val="300000"/>
              </a:schemeClr>
            </a:gs>
            <a:gs pos="100000">
              <a:schemeClr val="accent3">
                <a:tint val="15000"/>
                <a:satMod val="350000"/>
              </a:schemeClr>
            </a:gs>
          </a:gsLst>
          <a:lin ang="16200000" scaled="1"/>
        </a:gradFill>
        <a:ln w="9525" cap="flat" cmpd="sng" algn="ctr">
          <a:solidFill>
            <a:schemeClr val="accent3">
              <a:shade val="95000"/>
              <a:satMod val="105000"/>
            </a:schemeClr>
          </a:solidFill>
          <a:prstDash val="solid"/>
        </a:ln>
        <a:effectLst>
          <a:outerShdw blurRad="40000" dist="20000" dir="5400000" rotWithShape="0">
            <a:srgbClr val="000000">
              <a:alpha val="38000"/>
            </a:srgbClr>
          </a:outerShdw>
        </a:effectLst>
      </dsp:spPr>
      <dsp:style>
        <a:lnRef idx="1">
          <a:schemeClr val="accent3"/>
        </a:lnRef>
        <a:fillRef idx="2">
          <a:schemeClr val="accent3"/>
        </a:fillRef>
        <a:effectRef idx="1">
          <a:schemeClr val="accent3"/>
        </a:effectRef>
        <a:fontRef idx="minor">
          <a:schemeClr val="dk1"/>
        </a:fontRef>
      </dsp:style>
      <dsp:txBody>
        <a:bodyPr spcFirstLastPara="0" vert="horz" wrap="square" lIns="17780" tIns="8890" rIns="0" bIns="8890" numCol="1" spcCol="1270" anchor="ctr" anchorCtr="0">
          <a:noAutofit/>
        </a:bodyPr>
        <a:lstStyle/>
        <a:p>
          <a:pPr marL="0" lvl="0" indent="0" algn="ctr" defTabSz="622300">
            <a:lnSpc>
              <a:spcPct val="90000"/>
            </a:lnSpc>
            <a:spcBef>
              <a:spcPct val="0"/>
            </a:spcBef>
            <a:spcAft>
              <a:spcPct val="35000"/>
            </a:spcAft>
            <a:buNone/>
          </a:pPr>
          <a:r>
            <a:rPr lang="en-SG" sz="1400" kern="1200" dirty="0"/>
            <a:t>SklearnLDA</a:t>
          </a:r>
        </a:p>
      </dsp:txBody>
      <dsp:txXfrm>
        <a:off x="234312" y="1427277"/>
        <a:ext cx="1361771" cy="467817"/>
      </dsp:txXfrm>
    </dsp:sp>
    <dsp:sp modelId="{60C4116F-D1AB-4965-B137-6B7BA57FF3FD}">
      <dsp:nvSpPr>
        <dsp:cNvPr id="0" name=""/>
        <dsp:cNvSpPr/>
      </dsp:nvSpPr>
      <dsp:spPr>
        <a:xfrm>
          <a:off x="1677951" y="1467041"/>
          <a:ext cx="3221428" cy="388288"/>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780" tIns="8890" rIns="0" bIns="8890" numCol="1" spcCol="1270" anchor="ctr" anchorCtr="0">
          <a:noAutofit/>
        </a:bodyPr>
        <a:lstStyle/>
        <a:p>
          <a:pPr marL="0" lvl="0" indent="0" algn="ctr" defTabSz="622300">
            <a:lnSpc>
              <a:spcPct val="90000"/>
            </a:lnSpc>
            <a:spcBef>
              <a:spcPct val="0"/>
            </a:spcBef>
            <a:spcAft>
              <a:spcPct val="35000"/>
            </a:spcAft>
            <a:buNone/>
          </a:pPr>
          <a:r>
            <a:rPr lang="en-SG" sz="1400" kern="1200" dirty="0"/>
            <a:t>Uses LDA technique from sklearn</a:t>
          </a:r>
        </a:p>
      </dsp:txBody>
      <dsp:txXfrm>
        <a:off x="1872095" y="1467041"/>
        <a:ext cx="2833140" cy="388288"/>
      </dsp:txXfrm>
    </dsp:sp>
    <dsp:sp modelId="{379E0AC3-4376-448D-BB31-C9BF9E9F4A49}">
      <dsp:nvSpPr>
        <dsp:cNvPr id="0" name=""/>
        <dsp:cNvSpPr/>
      </dsp:nvSpPr>
      <dsp:spPr>
        <a:xfrm>
          <a:off x="0" y="1958596"/>
          <a:ext cx="1842266" cy="467817"/>
        </a:xfrm>
        <a:prstGeom prst="chevron">
          <a:avLst/>
        </a:prstGeom>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17780" tIns="8890" rIns="0" bIns="8890" numCol="1" spcCol="1270" anchor="ctr" anchorCtr="0">
          <a:noAutofit/>
        </a:bodyPr>
        <a:lstStyle/>
        <a:p>
          <a:pPr marL="0" lvl="0" indent="0" algn="ctr" defTabSz="622300">
            <a:lnSpc>
              <a:spcPct val="90000"/>
            </a:lnSpc>
            <a:spcBef>
              <a:spcPct val="0"/>
            </a:spcBef>
            <a:spcAft>
              <a:spcPct val="35000"/>
            </a:spcAft>
            <a:buNone/>
          </a:pPr>
          <a:r>
            <a:rPr lang="en-SG" sz="1400" kern="1200" dirty="0"/>
            <a:t>SklearnNMF</a:t>
          </a:r>
        </a:p>
      </dsp:txBody>
      <dsp:txXfrm>
        <a:off x="233909" y="1958596"/>
        <a:ext cx="1374449" cy="467817"/>
      </dsp:txXfrm>
    </dsp:sp>
    <dsp:sp modelId="{B216747F-E320-472F-A8BF-A5FE93064B5F}">
      <dsp:nvSpPr>
        <dsp:cNvPr id="0" name=""/>
        <dsp:cNvSpPr/>
      </dsp:nvSpPr>
      <dsp:spPr>
        <a:xfrm>
          <a:off x="1690629" y="2000353"/>
          <a:ext cx="3238969" cy="388288"/>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780" tIns="8890" rIns="0" bIns="8890" numCol="1" spcCol="1270" anchor="ctr" anchorCtr="0">
          <a:noAutofit/>
        </a:bodyPr>
        <a:lstStyle/>
        <a:p>
          <a:pPr marL="0" lvl="0" indent="0" algn="ctr" defTabSz="622300">
            <a:lnSpc>
              <a:spcPct val="90000"/>
            </a:lnSpc>
            <a:spcBef>
              <a:spcPct val="0"/>
            </a:spcBef>
            <a:spcAft>
              <a:spcPct val="35000"/>
            </a:spcAft>
            <a:buNone/>
          </a:pPr>
          <a:r>
            <a:rPr lang="en-SG" sz="1400" kern="1200" dirty="0"/>
            <a:t>Similar to LDA but uses truncated SVD technique</a:t>
          </a:r>
        </a:p>
      </dsp:txBody>
      <dsp:txXfrm>
        <a:off x="1884773" y="2000353"/>
        <a:ext cx="2850681" cy="388288"/>
      </dsp:txXfrm>
    </dsp:sp>
    <dsp:sp modelId="{833C4942-9BBB-4080-879B-A6130F08E5ED}">
      <dsp:nvSpPr>
        <dsp:cNvPr id="0" name=""/>
        <dsp:cNvSpPr/>
      </dsp:nvSpPr>
      <dsp:spPr>
        <a:xfrm>
          <a:off x="403" y="2493901"/>
          <a:ext cx="2020867" cy="467817"/>
        </a:xfrm>
        <a:prstGeom prst="chevron">
          <a:avLst/>
        </a:prstGeom>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17780" tIns="8890" rIns="0" bIns="8890" numCol="1" spcCol="1270" anchor="ctr" anchorCtr="0">
          <a:noAutofit/>
        </a:bodyPr>
        <a:lstStyle/>
        <a:p>
          <a:pPr marL="0" lvl="0" indent="0" algn="ctr" defTabSz="622300">
            <a:lnSpc>
              <a:spcPct val="90000"/>
            </a:lnSpc>
            <a:spcBef>
              <a:spcPct val="0"/>
            </a:spcBef>
            <a:spcAft>
              <a:spcPct val="35000"/>
            </a:spcAft>
            <a:buNone/>
          </a:pPr>
          <a:r>
            <a:rPr lang="en-SG" sz="1400" kern="1200" dirty="0"/>
            <a:t>ClusterTransformer</a:t>
          </a:r>
        </a:p>
      </dsp:txBody>
      <dsp:txXfrm>
        <a:off x="234312" y="2493901"/>
        <a:ext cx="1553050" cy="467817"/>
      </dsp:txXfrm>
    </dsp:sp>
    <dsp:sp modelId="{D2555CFB-5B3B-40BC-A098-B7873F1399FA}">
      <dsp:nvSpPr>
        <dsp:cNvPr id="0" name=""/>
        <dsp:cNvSpPr/>
      </dsp:nvSpPr>
      <dsp:spPr>
        <a:xfrm>
          <a:off x="1869230" y="2533666"/>
          <a:ext cx="3089429" cy="388288"/>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780" tIns="8890" rIns="0" bIns="8890" numCol="1" spcCol="1270" anchor="ctr" anchorCtr="0">
          <a:noAutofit/>
        </a:bodyPr>
        <a:lstStyle/>
        <a:p>
          <a:pPr marL="0" lvl="0" indent="0" algn="ctr" defTabSz="622300">
            <a:lnSpc>
              <a:spcPct val="90000"/>
            </a:lnSpc>
            <a:spcBef>
              <a:spcPct val="0"/>
            </a:spcBef>
            <a:spcAft>
              <a:spcPct val="35000"/>
            </a:spcAft>
            <a:buNone/>
          </a:pPr>
          <a:r>
            <a:rPr lang="en-SG" sz="1400" kern="1200" dirty="0"/>
            <a:t>An unsupervised model depends on other pretrained models.</a:t>
          </a:r>
        </a:p>
      </dsp:txBody>
      <dsp:txXfrm>
        <a:off x="2063374" y="2533666"/>
        <a:ext cx="2701141" cy="38828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C81EE0-FC67-484F-9CAE-91C91521D853}">
      <dsp:nvSpPr>
        <dsp:cNvPr id="0" name=""/>
        <dsp:cNvSpPr/>
      </dsp:nvSpPr>
      <dsp:spPr>
        <a:xfrm>
          <a:off x="60755" y="915983"/>
          <a:ext cx="902857" cy="2975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SG" sz="800" kern="1200" dirty="0"/>
            <a:t>Raw Data</a:t>
          </a:r>
        </a:p>
      </dsp:txBody>
      <dsp:txXfrm>
        <a:off x="60755" y="915983"/>
        <a:ext cx="902857" cy="297532"/>
      </dsp:txXfrm>
    </dsp:sp>
    <dsp:sp modelId="{46F4D02F-327B-465C-81B7-E6B63BF995CE}">
      <dsp:nvSpPr>
        <dsp:cNvPr id="0" name=""/>
        <dsp:cNvSpPr/>
      </dsp:nvSpPr>
      <dsp:spPr>
        <a:xfrm>
          <a:off x="59729" y="825492"/>
          <a:ext cx="71818" cy="71818"/>
        </a:xfrm>
        <a:prstGeom prst="ellipse">
          <a:avLst/>
        </a:prstGeom>
        <a:solidFill>
          <a:schemeClr val="accent3">
            <a:shade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B91700F-BF07-42AB-8C47-08BC5C2C98AF}">
      <dsp:nvSpPr>
        <dsp:cNvPr id="0" name=""/>
        <dsp:cNvSpPr/>
      </dsp:nvSpPr>
      <dsp:spPr>
        <a:xfrm>
          <a:off x="110002" y="724947"/>
          <a:ext cx="71818" cy="71818"/>
        </a:xfrm>
        <a:prstGeom prst="ellipse">
          <a:avLst/>
        </a:prstGeom>
        <a:solidFill>
          <a:schemeClr val="accent3">
            <a:shade val="50000"/>
            <a:hueOff val="-11367"/>
            <a:satOff val="459"/>
            <a:lumOff val="393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5F12469-1F5A-4455-8C6F-38AEF1B9483A}">
      <dsp:nvSpPr>
        <dsp:cNvPr id="0" name=""/>
        <dsp:cNvSpPr/>
      </dsp:nvSpPr>
      <dsp:spPr>
        <a:xfrm>
          <a:off x="230656" y="745056"/>
          <a:ext cx="112857" cy="112857"/>
        </a:xfrm>
        <a:prstGeom prst="ellipse">
          <a:avLst/>
        </a:prstGeom>
        <a:solidFill>
          <a:schemeClr val="accent3">
            <a:shade val="50000"/>
            <a:hueOff val="-22734"/>
            <a:satOff val="917"/>
            <a:lumOff val="786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158B312-C063-4D49-A5C7-2AE112EE2E21}">
      <dsp:nvSpPr>
        <dsp:cNvPr id="0" name=""/>
        <dsp:cNvSpPr/>
      </dsp:nvSpPr>
      <dsp:spPr>
        <a:xfrm>
          <a:off x="331202" y="634456"/>
          <a:ext cx="71818" cy="71818"/>
        </a:xfrm>
        <a:prstGeom prst="ellipse">
          <a:avLst/>
        </a:prstGeom>
        <a:solidFill>
          <a:schemeClr val="accent3">
            <a:shade val="50000"/>
            <a:hueOff val="-34101"/>
            <a:satOff val="1376"/>
            <a:lumOff val="1179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FDBB0CD-FC4B-467A-BCDB-9F43232E950C}">
      <dsp:nvSpPr>
        <dsp:cNvPr id="0" name=""/>
        <dsp:cNvSpPr/>
      </dsp:nvSpPr>
      <dsp:spPr>
        <a:xfrm>
          <a:off x="461911" y="594238"/>
          <a:ext cx="71818" cy="71818"/>
        </a:xfrm>
        <a:prstGeom prst="ellipse">
          <a:avLst/>
        </a:prstGeom>
        <a:solidFill>
          <a:schemeClr val="accent3">
            <a:shade val="50000"/>
            <a:hueOff val="-45468"/>
            <a:satOff val="1834"/>
            <a:lumOff val="1573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95D3681-556F-407D-96DD-91073B825916}">
      <dsp:nvSpPr>
        <dsp:cNvPr id="0" name=""/>
        <dsp:cNvSpPr/>
      </dsp:nvSpPr>
      <dsp:spPr>
        <a:xfrm>
          <a:off x="622784" y="664620"/>
          <a:ext cx="71818" cy="71818"/>
        </a:xfrm>
        <a:prstGeom prst="ellipse">
          <a:avLst/>
        </a:prstGeom>
        <a:solidFill>
          <a:schemeClr val="accent3">
            <a:shade val="50000"/>
            <a:hueOff val="-56835"/>
            <a:satOff val="2293"/>
            <a:lumOff val="1966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B6EB3AA-7151-4527-A84B-837A2F97EA39}">
      <dsp:nvSpPr>
        <dsp:cNvPr id="0" name=""/>
        <dsp:cNvSpPr/>
      </dsp:nvSpPr>
      <dsp:spPr>
        <a:xfrm>
          <a:off x="723329" y="714892"/>
          <a:ext cx="112857" cy="112857"/>
        </a:xfrm>
        <a:prstGeom prst="ellipse">
          <a:avLst/>
        </a:prstGeom>
        <a:solidFill>
          <a:schemeClr val="accent3">
            <a:shade val="50000"/>
            <a:hueOff val="-68203"/>
            <a:satOff val="2751"/>
            <a:lumOff val="2359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3864C52-1319-48A8-8E20-3B774A049025}">
      <dsp:nvSpPr>
        <dsp:cNvPr id="0" name=""/>
        <dsp:cNvSpPr/>
      </dsp:nvSpPr>
      <dsp:spPr>
        <a:xfrm>
          <a:off x="864093" y="825492"/>
          <a:ext cx="71818" cy="71818"/>
        </a:xfrm>
        <a:prstGeom prst="ellipse">
          <a:avLst/>
        </a:prstGeom>
        <a:solidFill>
          <a:schemeClr val="accent3">
            <a:shade val="50000"/>
            <a:hueOff val="-79570"/>
            <a:satOff val="3210"/>
            <a:lumOff val="2753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FE848F1-F4BC-41B1-ACA9-2944063E5034}">
      <dsp:nvSpPr>
        <dsp:cNvPr id="0" name=""/>
        <dsp:cNvSpPr/>
      </dsp:nvSpPr>
      <dsp:spPr>
        <a:xfrm>
          <a:off x="924420" y="936093"/>
          <a:ext cx="71818" cy="71818"/>
        </a:xfrm>
        <a:prstGeom prst="ellipse">
          <a:avLst/>
        </a:prstGeom>
        <a:solidFill>
          <a:schemeClr val="accent3">
            <a:shade val="50000"/>
            <a:hueOff val="-90937"/>
            <a:satOff val="3668"/>
            <a:lumOff val="3146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8ACFAB5-BFC8-4906-B9F0-8CBB67920297}">
      <dsp:nvSpPr>
        <dsp:cNvPr id="0" name=""/>
        <dsp:cNvSpPr/>
      </dsp:nvSpPr>
      <dsp:spPr>
        <a:xfrm>
          <a:off x="401583" y="724947"/>
          <a:ext cx="184675" cy="184675"/>
        </a:xfrm>
        <a:prstGeom prst="ellipse">
          <a:avLst/>
        </a:prstGeom>
        <a:solidFill>
          <a:schemeClr val="accent3">
            <a:shade val="50000"/>
            <a:hueOff val="-102304"/>
            <a:satOff val="4127"/>
            <a:lumOff val="3539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BEDCD0C-3B39-49FA-8FDF-53CC13EB12A4}">
      <dsp:nvSpPr>
        <dsp:cNvPr id="0" name=""/>
        <dsp:cNvSpPr/>
      </dsp:nvSpPr>
      <dsp:spPr>
        <a:xfrm>
          <a:off x="9456" y="1107020"/>
          <a:ext cx="71818" cy="71818"/>
        </a:xfrm>
        <a:prstGeom prst="ellipse">
          <a:avLst/>
        </a:prstGeom>
        <a:solidFill>
          <a:schemeClr val="accent3">
            <a:shade val="50000"/>
            <a:hueOff val="-102304"/>
            <a:satOff val="4127"/>
            <a:lumOff val="3539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DA0DD7D-4BB0-40D7-906E-2CA9BF135A9D}">
      <dsp:nvSpPr>
        <dsp:cNvPr id="0" name=""/>
        <dsp:cNvSpPr/>
      </dsp:nvSpPr>
      <dsp:spPr>
        <a:xfrm>
          <a:off x="69783" y="1197511"/>
          <a:ext cx="112857" cy="112857"/>
        </a:xfrm>
        <a:prstGeom prst="ellipse">
          <a:avLst/>
        </a:prstGeom>
        <a:solidFill>
          <a:schemeClr val="accent3">
            <a:shade val="50000"/>
            <a:hueOff val="-90937"/>
            <a:satOff val="3668"/>
            <a:lumOff val="3146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ADF121D-FDC8-41F3-83A9-181BCA26B39C}">
      <dsp:nvSpPr>
        <dsp:cNvPr id="0" name=""/>
        <dsp:cNvSpPr/>
      </dsp:nvSpPr>
      <dsp:spPr>
        <a:xfrm>
          <a:off x="220602" y="1277947"/>
          <a:ext cx="164155" cy="164155"/>
        </a:xfrm>
        <a:prstGeom prst="ellipse">
          <a:avLst/>
        </a:prstGeom>
        <a:solidFill>
          <a:schemeClr val="accent3">
            <a:shade val="50000"/>
            <a:hueOff val="-79570"/>
            <a:satOff val="3210"/>
            <a:lumOff val="2753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2662FF1-F12A-46BC-8BEF-62BAE21449C2}">
      <dsp:nvSpPr>
        <dsp:cNvPr id="0" name=""/>
        <dsp:cNvSpPr/>
      </dsp:nvSpPr>
      <dsp:spPr>
        <a:xfrm>
          <a:off x="431747" y="1408656"/>
          <a:ext cx="71818" cy="71818"/>
        </a:xfrm>
        <a:prstGeom prst="ellipse">
          <a:avLst/>
        </a:prstGeom>
        <a:solidFill>
          <a:schemeClr val="accent3">
            <a:shade val="50000"/>
            <a:hueOff val="-68203"/>
            <a:satOff val="2751"/>
            <a:lumOff val="2359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0EF7C3F-8336-489C-9E6D-C293B2F7BCF7}">
      <dsp:nvSpPr>
        <dsp:cNvPr id="0" name=""/>
        <dsp:cNvSpPr/>
      </dsp:nvSpPr>
      <dsp:spPr>
        <a:xfrm>
          <a:off x="471965" y="1277947"/>
          <a:ext cx="112857" cy="112857"/>
        </a:xfrm>
        <a:prstGeom prst="ellipse">
          <a:avLst/>
        </a:prstGeom>
        <a:solidFill>
          <a:schemeClr val="accent3">
            <a:shade val="50000"/>
            <a:hueOff val="-56835"/>
            <a:satOff val="2293"/>
            <a:lumOff val="1966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79BBD7F-6596-41F4-B6AA-7639E629E48F}">
      <dsp:nvSpPr>
        <dsp:cNvPr id="0" name=""/>
        <dsp:cNvSpPr/>
      </dsp:nvSpPr>
      <dsp:spPr>
        <a:xfrm>
          <a:off x="572511" y="1418711"/>
          <a:ext cx="71818" cy="71818"/>
        </a:xfrm>
        <a:prstGeom prst="ellipse">
          <a:avLst/>
        </a:prstGeom>
        <a:solidFill>
          <a:schemeClr val="accent3">
            <a:shade val="50000"/>
            <a:hueOff val="-45468"/>
            <a:satOff val="1834"/>
            <a:lumOff val="1573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B23B29F-4F20-49A0-896E-8265C2DE2BD7}">
      <dsp:nvSpPr>
        <dsp:cNvPr id="0" name=""/>
        <dsp:cNvSpPr/>
      </dsp:nvSpPr>
      <dsp:spPr>
        <a:xfrm>
          <a:off x="663002" y="1257838"/>
          <a:ext cx="164155" cy="164155"/>
        </a:xfrm>
        <a:prstGeom prst="ellipse">
          <a:avLst/>
        </a:prstGeom>
        <a:solidFill>
          <a:schemeClr val="accent3">
            <a:shade val="50000"/>
            <a:hueOff val="-34101"/>
            <a:satOff val="1376"/>
            <a:lumOff val="1179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DDFACB3-41CE-4F1E-A5D4-97740F21CAC8}">
      <dsp:nvSpPr>
        <dsp:cNvPr id="0" name=""/>
        <dsp:cNvSpPr/>
      </dsp:nvSpPr>
      <dsp:spPr>
        <a:xfrm>
          <a:off x="884202" y="1217620"/>
          <a:ext cx="112857" cy="112857"/>
        </a:xfrm>
        <a:prstGeom prst="ellipse">
          <a:avLst/>
        </a:prstGeom>
        <a:solidFill>
          <a:schemeClr val="accent3">
            <a:shade val="50000"/>
            <a:hueOff val="-22734"/>
            <a:satOff val="917"/>
            <a:lumOff val="786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2BBD6A6-169A-4BB7-A9D8-471E143A1176}">
      <dsp:nvSpPr>
        <dsp:cNvPr id="0" name=""/>
        <dsp:cNvSpPr/>
      </dsp:nvSpPr>
      <dsp:spPr>
        <a:xfrm>
          <a:off x="997059" y="744889"/>
          <a:ext cx="331445" cy="632765"/>
        </a:xfrm>
        <a:prstGeom prst="chevron">
          <a:avLst>
            <a:gd name="adj" fmla="val 62310"/>
          </a:avLst>
        </a:prstGeom>
        <a:solidFill>
          <a:schemeClr val="accent3">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5F3B97B-2C8D-4B0E-A5A6-E7F8F04A3128}">
      <dsp:nvSpPr>
        <dsp:cNvPr id="0" name=""/>
        <dsp:cNvSpPr/>
      </dsp:nvSpPr>
      <dsp:spPr>
        <a:xfrm>
          <a:off x="1328505" y="745196"/>
          <a:ext cx="903942" cy="6327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SG" sz="800" kern="1200" dirty="0"/>
            <a:t>Data Preprocessing.py</a:t>
          </a:r>
        </a:p>
      </dsp:txBody>
      <dsp:txXfrm>
        <a:off x="1328505" y="745196"/>
        <a:ext cx="903942" cy="632759"/>
      </dsp:txXfrm>
    </dsp:sp>
    <dsp:sp modelId="{55072F77-C288-4A44-B186-3787D39FB991}">
      <dsp:nvSpPr>
        <dsp:cNvPr id="0" name=""/>
        <dsp:cNvSpPr/>
      </dsp:nvSpPr>
      <dsp:spPr>
        <a:xfrm>
          <a:off x="2232447" y="744889"/>
          <a:ext cx="331445" cy="632765"/>
        </a:xfrm>
        <a:prstGeom prst="chevron">
          <a:avLst>
            <a:gd name="adj" fmla="val 62310"/>
          </a:avLst>
        </a:prstGeom>
        <a:solidFill>
          <a:schemeClr val="accent3">
            <a:shade val="90000"/>
            <a:hueOff val="-114374"/>
            <a:satOff val="-2257"/>
            <a:lumOff val="2527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46AB234-6F34-427B-9638-94233E665CE5}">
      <dsp:nvSpPr>
        <dsp:cNvPr id="0" name=""/>
        <dsp:cNvSpPr/>
      </dsp:nvSpPr>
      <dsp:spPr>
        <a:xfrm>
          <a:off x="2600050" y="692596"/>
          <a:ext cx="768351" cy="768351"/>
        </a:xfrm>
        <a:prstGeom prst="ellipse">
          <a:avLst/>
        </a:prstGeom>
        <a:solidFill>
          <a:schemeClr val="accent3">
            <a:shade val="50000"/>
            <a:hueOff val="-11367"/>
            <a:satOff val="459"/>
            <a:lumOff val="393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r>
            <a:rPr lang="en-SG" sz="800" kern="1200" dirty="0"/>
            <a:t>Processed Data submission</a:t>
          </a:r>
        </a:p>
      </dsp:txBody>
      <dsp:txXfrm>
        <a:off x="2712572" y="805118"/>
        <a:ext cx="543307" cy="543307"/>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B089B8-207D-4394-94F6-16999D997E13}">
      <dsp:nvSpPr>
        <dsp:cNvPr id="0" name=""/>
        <dsp:cNvSpPr/>
      </dsp:nvSpPr>
      <dsp:spPr>
        <a:xfrm>
          <a:off x="837301" y="0"/>
          <a:ext cx="1189101" cy="430444"/>
        </a:xfrm>
        <a:prstGeom prst="roundRect">
          <a:avLst>
            <a:gd name="adj" fmla="val 10000"/>
          </a:avLst>
        </a:prstGeom>
        <a:solidFill>
          <a:schemeClr val="accent3">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SG" sz="1000" kern="1200" dirty="0"/>
            <a:t>Main_&lt;lda/nmf&gt;.py</a:t>
          </a:r>
        </a:p>
      </dsp:txBody>
      <dsp:txXfrm>
        <a:off x="849908" y="12607"/>
        <a:ext cx="1163887" cy="405230"/>
      </dsp:txXfrm>
    </dsp:sp>
    <dsp:sp modelId="{0B43C7C7-785A-4DAD-B250-1A9C846F9810}">
      <dsp:nvSpPr>
        <dsp:cNvPr id="0" name=""/>
        <dsp:cNvSpPr/>
      </dsp:nvSpPr>
      <dsp:spPr>
        <a:xfrm rot="5400000">
          <a:off x="1351144" y="441205"/>
          <a:ext cx="161416" cy="193699"/>
        </a:xfrm>
        <a:prstGeom prst="rightArrow">
          <a:avLst>
            <a:gd name="adj1" fmla="val 60000"/>
            <a:gd name="adj2" fmla="val 50000"/>
          </a:avLst>
        </a:prstGeom>
        <a:solidFill>
          <a:schemeClr val="accent3">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SG" sz="800" kern="1200" dirty="0"/>
        </a:p>
      </dsp:txBody>
      <dsp:txXfrm rot="-5400000">
        <a:off x="1373743" y="457347"/>
        <a:ext cx="116219" cy="112991"/>
      </dsp:txXfrm>
    </dsp:sp>
    <dsp:sp modelId="{3FF7D798-0CEC-44AC-9A93-9C032539D6E7}">
      <dsp:nvSpPr>
        <dsp:cNvPr id="0" name=""/>
        <dsp:cNvSpPr/>
      </dsp:nvSpPr>
      <dsp:spPr>
        <a:xfrm>
          <a:off x="837301" y="645666"/>
          <a:ext cx="1189101" cy="430444"/>
        </a:xfrm>
        <a:prstGeom prst="roundRect">
          <a:avLst>
            <a:gd name="adj" fmla="val 10000"/>
          </a:avLst>
        </a:prstGeom>
        <a:solidFill>
          <a:schemeClr val="accent3">
            <a:shade val="80000"/>
            <a:hueOff val="-42470"/>
            <a:satOff val="881"/>
            <a:lumOff val="1027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SG" sz="1000" kern="1200" dirty="0"/>
            <a:t>sklearnLDA.py</a:t>
          </a:r>
        </a:p>
      </dsp:txBody>
      <dsp:txXfrm>
        <a:off x="849908" y="658273"/>
        <a:ext cx="1163887" cy="405230"/>
      </dsp:txXfrm>
    </dsp:sp>
    <dsp:sp modelId="{874AA228-C08E-4662-BA39-8FBB8B7DFC5C}">
      <dsp:nvSpPr>
        <dsp:cNvPr id="0" name=""/>
        <dsp:cNvSpPr/>
      </dsp:nvSpPr>
      <dsp:spPr>
        <a:xfrm rot="5400000">
          <a:off x="1351144" y="1086871"/>
          <a:ext cx="161416" cy="193699"/>
        </a:xfrm>
        <a:prstGeom prst="rightArrow">
          <a:avLst>
            <a:gd name="adj1" fmla="val 60000"/>
            <a:gd name="adj2" fmla="val 50000"/>
          </a:avLst>
        </a:prstGeom>
        <a:solidFill>
          <a:schemeClr val="accent3">
            <a:shade val="90000"/>
            <a:hueOff val="-84993"/>
            <a:satOff val="-823"/>
            <a:lumOff val="17472"/>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SG" sz="800" kern="1200" dirty="0"/>
        </a:p>
      </dsp:txBody>
      <dsp:txXfrm rot="-5400000">
        <a:off x="1373743" y="1103013"/>
        <a:ext cx="116219" cy="112991"/>
      </dsp:txXfrm>
    </dsp:sp>
    <dsp:sp modelId="{19AAC7DD-3AC0-4C3E-8FE2-4B07237CAE77}">
      <dsp:nvSpPr>
        <dsp:cNvPr id="0" name=""/>
        <dsp:cNvSpPr/>
      </dsp:nvSpPr>
      <dsp:spPr>
        <a:xfrm>
          <a:off x="837301" y="1291332"/>
          <a:ext cx="1189101" cy="430444"/>
        </a:xfrm>
        <a:prstGeom prst="roundRect">
          <a:avLst>
            <a:gd name="adj" fmla="val 10000"/>
          </a:avLst>
        </a:prstGeom>
        <a:solidFill>
          <a:schemeClr val="accent3">
            <a:shade val="80000"/>
            <a:hueOff val="-84941"/>
            <a:satOff val="1762"/>
            <a:lumOff val="2054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SG" sz="1000" kern="1200" dirty="0"/>
            <a:t>Model</a:t>
          </a:r>
        </a:p>
        <a:p>
          <a:pPr marL="0" lvl="0" indent="0" algn="ctr" defTabSz="444500">
            <a:lnSpc>
              <a:spcPct val="90000"/>
            </a:lnSpc>
            <a:spcBef>
              <a:spcPct val="0"/>
            </a:spcBef>
            <a:spcAft>
              <a:spcPct val="35000"/>
            </a:spcAft>
            <a:buNone/>
          </a:pPr>
          <a:r>
            <a:rPr lang="en-SG" sz="1000" kern="1200" dirty="0"/>
            <a:t>Submission</a:t>
          </a:r>
        </a:p>
      </dsp:txBody>
      <dsp:txXfrm>
        <a:off x="849908" y="1303939"/>
        <a:ext cx="1163887" cy="40523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B54878-8165-4D6F-B2AD-AED3CC567F7D}">
      <dsp:nvSpPr>
        <dsp:cNvPr id="0" name=""/>
        <dsp:cNvSpPr/>
      </dsp:nvSpPr>
      <dsp:spPr>
        <a:xfrm>
          <a:off x="0" y="0"/>
          <a:ext cx="2020352" cy="375487"/>
        </a:xfrm>
        <a:prstGeom prst="roundRect">
          <a:avLst>
            <a:gd name="adj" fmla="val 10000"/>
          </a:avLst>
        </a:prstGeom>
        <a:solidFill>
          <a:schemeClr val="accent3">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l" defTabSz="577850">
            <a:lnSpc>
              <a:spcPct val="90000"/>
            </a:lnSpc>
            <a:spcBef>
              <a:spcPct val="0"/>
            </a:spcBef>
            <a:spcAft>
              <a:spcPct val="35000"/>
            </a:spcAft>
            <a:buNone/>
          </a:pPr>
          <a:r>
            <a:rPr lang="en-SG" sz="1300" kern="1200" dirty="0"/>
            <a:t>Test_lda.py</a:t>
          </a:r>
        </a:p>
      </dsp:txBody>
      <dsp:txXfrm>
        <a:off x="10998" y="10998"/>
        <a:ext cx="1615171" cy="353491"/>
      </dsp:txXfrm>
    </dsp:sp>
    <dsp:sp modelId="{B0A917A8-1BF6-49E5-8D77-DB90898AD37E}">
      <dsp:nvSpPr>
        <dsp:cNvPr id="0" name=""/>
        <dsp:cNvSpPr/>
      </dsp:nvSpPr>
      <dsp:spPr>
        <a:xfrm>
          <a:off x="178266" y="438068"/>
          <a:ext cx="2020352" cy="375487"/>
        </a:xfrm>
        <a:prstGeom prst="roundRect">
          <a:avLst>
            <a:gd name="adj" fmla="val 10000"/>
          </a:avLst>
        </a:prstGeom>
        <a:solidFill>
          <a:schemeClr val="accent3">
            <a:shade val="80000"/>
            <a:hueOff val="-42470"/>
            <a:satOff val="881"/>
            <a:lumOff val="1027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l" defTabSz="577850">
            <a:lnSpc>
              <a:spcPct val="90000"/>
            </a:lnSpc>
            <a:spcBef>
              <a:spcPct val="0"/>
            </a:spcBef>
            <a:spcAft>
              <a:spcPct val="35000"/>
            </a:spcAft>
            <a:buNone/>
          </a:pPr>
          <a:r>
            <a:rPr lang="en-SG" sz="1300" kern="1200" dirty="0"/>
            <a:t>sklearnLDA_test.py</a:t>
          </a:r>
        </a:p>
      </dsp:txBody>
      <dsp:txXfrm>
        <a:off x="189264" y="449066"/>
        <a:ext cx="1576023" cy="353491"/>
      </dsp:txXfrm>
    </dsp:sp>
    <dsp:sp modelId="{19C9478D-6018-4204-9C65-6C067BF94DA3}">
      <dsp:nvSpPr>
        <dsp:cNvPr id="0" name=""/>
        <dsp:cNvSpPr/>
      </dsp:nvSpPr>
      <dsp:spPr>
        <a:xfrm>
          <a:off x="356532" y="876137"/>
          <a:ext cx="2020352" cy="375487"/>
        </a:xfrm>
        <a:prstGeom prst="roundRect">
          <a:avLst>
            <a:gd name="adj" fmla="val 10000"/>
          </a:avLst>
        </a:prstGeom>
        <a:solidFill>
          <a:schemeClr val="accent3">
            <a:shade val="80000"/>
            <a:hueOff val="-84941"/>
            <a:satOff val="1762"/>
            <a:lumOff val="2054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l" defTabSz="577850">
            <a:lnSpc>
              <a:spcPct val="90000"/>
            </a:lnSpc>
            <a:spcBef>
              <a:spcPct val="0"/>
            </a:spcBef>
            <a:spcAft>
              <a:spcPct val="35000"/>
            </a:spcAft>
            <a:buNone/>
          </a:pPr>
          <a:r>
            <a:rPr lang="en-SG" sz="1300" kern="1200" dirty="0"/>
            <a:t>Test prediction</a:t>
          </a:r>
        </a:p>
      </dsp:txBody>
      <dsp:txXfrm>
        <a:off x="367530" y="887135"/>
        <a:ext cx="1576023" cy="353491"/>
      </dsp:txXfrm>
    </dsp:sp>
    <dsp:sp modelId="{1537B0C4-8165-4A03-8364-FB7A004C3E41}">
      <dsp:nvSpPr>
        <dsp:cNvPr id="0" name=""/>
        <dsp:cNvSpPr/>
      </dsp:nvSpPr>
      <dsp:spPr>
        <a:xfrm>
          <a:off x="1776285" y="284744"/>
          <a:ext cx="244066" cy="244066"/>
        </a:xfrm>
        <a:prstGeom prst="downArrow">
          <a:avLst>
            <a:gd name="adj1" fmla="val 55000"/>
            <a:gd name="adj2" fmla="val 45000"/>
          </a:avLst>
        </a:prstGeom>
        <a:solidFill>
          <a:schemeClr val="accent3">
            <a:alpha val="90000"/>
            <a:tint val="40000"/>
            <a:hueOff val="0"/>
            <a:satOff val="0"/>
            <a:lumOff val="0"/>
            <a:alphaOff val="0"/>
          </a:schemeClr>
        </a:solidFill>
        <a:ln w="25400" cap="flat" cmpd="sng" algn="ctr">
          <a:solidFill>
            <a:schemeClr val="accent3">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endParaRPr lang="en-SG" sz="1100" kern="1200" dirty="0"/>
        </a:p>
      </dsp:txBody>
      <dsp:txXfrm>
        <a:off x="1831200" y="284744"/>
        <a:ext cx="134236" cy="183660"/>
      </dsp:txXfrm>
    </dsp:sp>
    <dsp:sp modelId="{D7895774-73ED-4173-BF3C-4C8AFE76184A}">
      <dsp:nvSpPr>
        <dsp:cNvPr id="0" name=""/>
        <dsp:cNvSpPr/>
      </dsp:nvSpPr>
      <dsp:spPr>
        <a:xfrm>
          <a:off x="1954551" y="720310"/>
          <a:ext cx="244066" cy="244066"/>
        </a:xfrm>
        <a:prstGeom prst="downArrow">
          <a:avLst>
            <a:gd name="adj1" fmla="val 55000"/>
            <a:gd name="adj2" fmla="val 45000"/>
          </a:avLst>
        </a:prstGeom>
        <a:solidFill>
          <a:schemeClr val="accent3">
            <a:alpha val="90000"/>
            <a:tint val="40000"/>
            <a:hueOff val="0"/>
            <a:satOff val="0"/>
            <a:lumOff val="0"/>
            <a:alphaOff val="0"/>
          </a:schemeClr>
        </a:solidFill>
        <a:ln w="25400" cap="flat" cmpd="sng" algn="ctr">
          <a:solidFill>
            <a:schemeClr val="accent3">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endParaRPr lang="en-SG" sz="1100" kern="1200" dirty="0"/>
        </a:p>
      </dsp:txBody>
      <dsp:txXfrm>
        <a:off x="2009466" y="720310"/>
        <a:ext cx="134236" cy="183660"/>
      </dsp:txXfrm>
    </dsp:sp>
  </dsp:spTree>
</dsp:drawing>
</file>

<file path=ppt/diagrams/layout1.xml><?xml version="1.0" encoding="utf-8"?>
<dgm:layoutDef xmlns:dgm="http://schemas.openxmlformats.org/drawingml/2006/diagram" xmlns:a="http://schemas.openxmlformats.org/drawingml/2006/main" uniqueId="urn:microsoft.com/office/officeart/2009/3/layout/DescendingProcess">
  <dgm:title val=""/>
  <dgm:desc val=""/>
  <dgm:catLst>
    <dgm:cat type="process" pri="235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clrData>
  <dgm:layoutNode name="Name0">
    <dgm:varLst>
      <dgm:chMax val="7"/>
      <dgm:chPref val="5"/>
    </dgm:varLst>
    <dgm:alg type="composite">
      <dgm:param type="ar" val="1.1"/>
    </dgm:alg>
    <dgm:shape xmlns:r="http://schemas.openxmlformats.org/officeDocument/2006/relationships" r:blip="">
      <dgm:adjLst/>
    </dgm:shape>
    <dgm:choose name="Name1">
      <dgm:if name="Name2" axis="ch" ptType="node" func="cnt" op="equ" val="1">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Lst>
      </dgm:if>
      <dgm:if name="Name3" axis="ch" ptType="node" func="cnt" op="equ" val="2">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5"/>
          <dgm:constr type="b" for="ch" forName="txNode2" refType="h"/>
          <dgm:constr type="r" for="ch" forName="txNode2" refType="w"/>
          <dgm:constr type="h" for="ch" forName="txNode2" refType="h" fact="0.16"/>
        </dgm:constrLst>
      </dgm:if>
      <dgm:if name="Name4" axis="ch" ptType="node" func="cnt" op="equ" val="3">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56"/>
          <dgm:constr type="ctrY" for="ch" forName="txNode2" refType="h" fact="0.3992"/>
          <dgm:constr type="r" for="ch" forName="txNode2" refType="w"/>
          <dgm:constr type="h" for="ch" forName="txNode2" refType="h" fact="0.16"/>
          <dgm:constr type="l" for="ch" forName="txNode3" refType="w" fact="0.5"/>
          <dgm:constr type="b" for="ch" forName="txNode3" refType="h"/>
          <dgm:constr type="r" for="ch" forName="txNode3" refType="w"/>
          <dgm:constr type="h" for="ch" forName="txNode3" refType="h" fact="0.16"/>
          <dgm:constr type="ctrX" for="ch" forName="dotNode2" refType="w" fact="0.4782"/>
          <dgm:constr type="ctrY" for="ch" forName="dotNode2" refType="h" fact="0.3992"/>
          <dgm:constr type="h" for="ch" forName="dotNode2" refType="h" fact="0.0218"/>
          <dgm:constr type="w" for="ch" forName="dotNode2" refType="h" refFor="ch" refForName="dotNode2"/>
        </dgm:constrLst>
      </dgm:if>
      <dgm:if name="Name5" axis="ch" ptType="node" func="cnt" op="equ" val="4">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49"/>
          <dgm:constr type="ctrY" for="ch" forName="txNode2" refType="h" fact="0.3153"/>
          <dgm:constr type="r" for="ch" forName="txNode2" refType="w"/>
          <dgm:constr type="h" for="ch" forName="txNode2" refType="h" fact="0.16"/>
          <dgm:constr type="l" for="ch" forName="txNode3" refType="w" fact="0"/>
          <dgm:constr type="ctrY" for="ch" forName="txNode3" refType="h" fact="0.5004"/>
          <dgm:constr type="r" for="ch" forName="txNode3" refType="w" fact="0.5"/>
          <dgm:constr type="h" for="ch" forName="txNode3" refType="h" fact="0.16"/>
          <dgm:constr type="l" for="ch" forName="txNode4" refType="w" fact="0.5"/>
          <dgm:constr type="b" for="ch" forName="txNode4" refType="h"/>
          <dgm:constr type="r" for="ch" forName="txNode4" refType="w"/>
          <dgm:constr type="h" for="ch" forName="txNode4" refType="h" fact="0.16"/>
          <dgm:constr type="ctrX" for="ch" forName="dotNode2" refType="w" fact="0.39"/>
          <dgm:constr type="ctrY" for="ch" forName="dotNode2" refType="h" fact="0.3153"/>
          <dgm:constr type="h" for="ch" forName="dotNode2" refType="h" fact="0.0218"/>
          <dgm:constr type="w" for="ch" forName="dotNode2" refType="h" refFor="ch" refForName="dotNode2"/>
          <dgm:constr type="ctrX" for="ch" forName="dotNode3" refType="w" fact="0.5626"/>
          <dgm:constr type="ctrY" for="ch" forName="dotNode3" refType="h" fact="0.5004"/>
          <dgm:constr type="h" for="ch" forName="dotNode3" refType="h" fact="0.0218"/>
          <dgm:constr type="w" for="ch" forName="dotNode3" refType="h" refFor="ch" refForName="dotNode3"/>
        </dgm:constrLst>
      </dgm:if>
      <dgm:if name="Name6" axis="ch" ptType="node" func="cnt" op="equ" val="5">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46"/>
          <dgm:constr type="ctrY" for="ch" forName="txNode2" refType="h" fact="0.2885"/>
          <dgm:constr type="r" for="ch" forName="txNode2" refType="w"/>
          <dgm:constr type="h" for="ch" forName="txNode2" refType="h" fact="0.16"/>
          <dgm:constr type="l" for="ch" forName="txNode3" refType="w" fact="0"/>
          <dgm:constr type="ctrY" for="ch" forName="txNode3" refType="h" fact="0.4089"/>
          <dgm:constr type="r" for="ch" forName="txNode3" refType="w" fact="0.43"/>
          <dgm:constr type="h" for="ch" forName="txNode3" refType="h" fact="0.16"/>
          <dgm:constr type="l" for="ch" forName="txNode4" refType="w" fact="0.67"/>
          <dgm:constr type="ctrY" for="ch" forName="txNode4" refType="h" fact="0.5497"/>
          <dgm:constr type="r" for="ch" forName="txNode4" refType="w"/>
          <dgm:constr type="h" for="ch" forName="txNode4" refType="h" fact="0.16"/>
          <dgm:constr type="l" for="ch" forName="txNode5" refType="w" fact="0.5"/>
          <dgm:constr type="b" for="ch" forName="txNode5" refType="h"/>
          <dgm:constr type="r" for="ch" forName="txNode5" refType="w"/>
          <dgm:constr type="h" for="ch" forName="txNode5" refType="h" fact="0.16"/>
          <dgm:constr type="ctrX" for="ch" forName="dotNode2" refType="w" fact="0.3565"/>
          <dgm:constr type="ctrY" for="ch" forName="dotNode2" refType="h" fact="0.2885"/>
          <dgm:constr type="h" for="ch" forName="dotNode2" refType="h" fact="0.0218"/>
          <dgm:constr type="w" for="ch" forName="dotNode2" refType="h" refFor="ch" refForName="dotNode2"/>
          <dgm:constr type="ctrX" for="ch" forName="dotNode3" refType="w" fact="0.4922"/>
          <dgm:constr type="ctrY" for="ch" forName="dotNode3" refType="h" fact="0.4089"/>
          <dgm:constr type="h" for="ch" forName="dotNode3" refType="h" fact="0.0218"/>
          <dgm:constr type="w" for="ch" forName="dotNode3" refType="h" refFor="ch" refForName="dotNode3"/>
          <dgm:constr type="ctrX" for="ch" forName="dotNode4" refType="w" fact="0.5939"/>
          <dgm:constr type="ctrY" for="ch" forName="dotNode4" refType="h" fact="0.5497"/>
          <dgm:constr type="h" for="ch" forName="dotNode4" refType="h" fact="0.0218"/>
          <dgm:constr type="w" for="ch" forName="dotNode4" refType="h" refFor="ch" refForName="dotNode4"/>
        </dgm:constrLst>
      </dgm:if>
      <dgm:if name="Name7" axis="ch" ptType="node" func="cnt" op="equ" val="6">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45"/>
          <dgm:constr type="ctrY" for="ch" forName="txNode2" refType="h" fact="0.2693"/>
          <dgm:constr type="r" for="ch" forName="txNode2" refType="w"/>
          <dgm:constr type="h" for="ch" forName="txNode2" refType="h" fact="0.16"/>
          <dgm:constr type="l" for="ch" forName="txNode3" refType="w" fact="0"/>
          <dgm:constr type="ctrY" for="ch" forName="txNode3" refType="h" fact="0.3638"/>
          <dgm:constr type="r" for="ch" forName="txNode3" refType="w" fact="0.37"/>
          <dgm:constr type="h" for="ch" forName="txNode3" refType="h" fact="0.16"/>
          <dgm:constr type="l" for="ch" forName="txNode4" refType="w" fact="0.63"/>
          <dgm:constr type="ctrY" for="ch" forName="txNode4" refType="h" fact="0.4744"/>
          <dgm:constr type="r" for="ch" forName="txNode4" refType="w"/>
          <dgm:constr type="h" for="ch" forName="txNode4" refType="h" fact="0.16"/>
          <dgm:constr type="l" for="ch" forName="txNode5" refType="w" fact="0"/>
          <dgm:constr type="ctrY" for="ch" forName="txNode5" refType="h" fact="0.5961"/>
          <dgm:constr type="r" for="ch" forName="txNode5" refType="w" fact="0.55"/>
          <dgm:constr type="h" for="ch" forName="txNode5" refType="h" fact="0.16"/>
          <dgm:constr type="l" for="ch" forName="txNode6" refType="w" fact="0.5"/>
          <dgm:constr type="b" for="ch" forName="txNode6" refType="h"/>
          <dgm:constr type="r" for="ch" forName="txNode6" refType="w"/>
          <dgm:constr type="h" for="ch" forName="txNode6" refType="h" fact="0.16"/>
          <dgm:constr type="ctrX" for="ch" forName="dotNode2" refType="w" fact="0.33"/>
          <dgm:constr type="ctrY" for="ch" forName="dotNode2" refType="h" fact="0.2693"/>
          <dgm:constr type="h" for="ch" forName="dotNode2" refType="h" fact="0.0218"/>
          <dgm:constr type="w" for="ch" forName="dotNode2" refType="h" refFor="ch" refForName="dotNode2"/>
          <dgm:constr type="ctrX" for="ch" forName="dotNode3" refType="w" fact="0.4419"/>
          <dgm:constr type="ctrY" for="ch" forName="dotNode3" refType="h" fact="0.3638"/>
          <dgm:constr type="h" for="ch" forName="dotNode3" refType="h" fact="0.0218"/>
          <dgm:constr type="w" for="ch" forName="dotNode3" refType="h" refFor="ch" refForName="dotNode3"/>
          <dgm:constr type="ctrX" for="ch" forName="dotNode4" refType="w" fact="0.5425"/>
          <dgm:constr type="ctrY" for="ch" forName="dotNode4" refType="h" fact="0.4744"/>
          <dgm:constr type="h" for="ch" forName="dotNode4" refType="h" fact="0.0218"/>
          <dgm:constr type="w" for="ch" forName="dotNode4" refType="h" refFor="ch" refForName="dotNode4"/>
          <dgm:constr type="ctrX" for="ch" forName="dotNode5" refType="w" fact="0.6153"/>
          <dgm:constr type="ctrY" for="ch" forName="dotNode5" refType="h" fact="0.5961"/>
          <dgm:constr type="h" for="ch" forName="dotNode5" refType="h" fact="0.0218"/>
          <dgm:constr type="w" for="ch" forName="dotNode5" refType="h" refFor="ch" refForName="dotNode5"/>
        </dgm:constrLst>
      </dgm:if>
      <dgm:else name="Name8">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44"/>
          <dgm:constr type="ctrY" for="ch" forName="txNode2" refType="h" fact="0.2693"/>
          <dgm:constr type="r" for="ch" forName="txNode2" refType="w"/>
          <dgm:constr type="h" for="ch" forName="txNode2" refType="h" fact="0.16"/>
          <dgm:constr type="l" for="ch" forName="txNode3" refType="w" fact="0"/>
          <dgm:constr type="ctrY" for="ch" forName="txNode3" refType="h" fact="0.3424"/>
          <dgm:constr type="r" for="ch" forName="txNode3" refType="w" fact="0.33"/>
          <dgm:constr type="h" for="ch" forName="txNode3" refType="h" fact="0.16"/>
          <dgm:constr type="l" for="ch" forName="txNode4" refType="w" fact="0.61"/>
          <dgm:constr type="ctrY" for="ch" forName="txNode4" refType="h" fact="0.4276"/>
          <dgm:constr type="r" for="ch" forName="txNode4" refType="w"/>
          <dgm:constr type="h" for="ch" forName="txNode4" refType="h" fact="0.16"/>
          <dgm:constr type="l" for="ch" forName="txNode5" refType="w" fact="0"/>
          <dgm:constr type="ctrY" for="ch" forName="txNode5" refType="h" fact="0.5218"/>
          <dgm:constr type="r" for="ch" forName="txNode5" refType="w" fact="0.5"/>
          <dgm:constr type="h" for="ch" forName="txNode5" refType="h" fact="0.16"/>
          <dgm:constr type="l" for="ch" forName="txNode6" refType="w" fact="0.71"/>
          <dgm:constr type="ctrY" for="ch" forName="txNode6" refType="h" fact="0.6179"/>
          <dgm:constr type="r" for="ch" forName="txNode6" refType="w"/>
          <dgm:constr type="h" for="ch" forName="txNode6" refType="h" fact="0.16"/>
          <dgm:constr type="l" for="ch" forName="txNode7" refType="w" fact="0.5"/>
          <dgm:constr type="b" for="ch" forName="txNode7" refType="h"/>
          <dgm:constr type="r" for="ch" forName="txNode7" refType="w"/>
          <dgm:constr type="h" for="ch" forName="txNode7" refType="h" fact="0.16"/>
          <dgm:constr type="ctrX" for="ch" forName="dotNode2" refType="w" fact="0.33"/>
          <dgm:constr type="ctrY" for="ch" forName="dotNode2" refType="h" fact="0.2693"/>
          <dgm:constr type="h" for="ch" forName="dotNode2" refType="h" fact="0.0218"/>
          <dgm:constr type="w" for="ch" forName="dotNode2" refType="h" refFor="ch" refForName="dotNode2"/>
          <dgm:constr type="ctrX" for="ch" forName="dotNode3" refType="w" fact="0.425"/>
          <dgm:constr type="ctrY" for="ch" forName="dotNode3" refType="h" fact="0.3424"/>
          <dgm:constr type="h" for="ch" forName="dotNode3" refType="h" fact="0.0218"/>
          <dgm:constr type="w" for="ch" forName="dotNode3" refType="h" refFor="ch" refForName="dotNode3"/>
          <dgm:constr type="ctrX" for="ch" forName="dotNode4" refType="w" fact="0.505"/>
          <dgm:constr type="ctrY" for="ch" forName="dotNode4" refType="h" fact="0.4276"/>
          <dgm:constr type="h" for="ch" forName="dotNode4" refType="h" fact="0.0218"/>
          <dgm:constr type="w" for="ch" forName="dotNode4" refType="h" refFor="ch" refForName="dotNode4"/>
          <dgm:constr type="ctrX" for="ch" forName="dotNode5" refType="w" fact="0.5742"/>
          <dgm:constr type="ctrY" for="ch" forName="dotNode5" refType="h" fact="0.5218"/>
          <dgm:constr type="h" for="ch" forName="dotNode5" refType="h" fact="0.0218"/>
          <dgm:constr type="w" for="ch" forName="dotNode5" refType="h" refFor="ch" refForName="dotNode5"/>
          <dgm:constr type="ctrX" for="ch" forName="dotNode6" refType="w" fact="0.63"/>
          <dgm:constr type="ctrY" for="ch" forName="dotNode6" refType="h" fact="0.6179"/>
          <dgm:constr type="h" for="ch" forName="dotNode6" refType="h" fact="0.0218"/>
          <dgm:constr type="w" for="ch" forName="dotNode6" refType="h" refFor="ch" refForName="dotNode6"/>
        </dgm:constrLst>
      </dgm:else>
    </dgm:choose>
    <dgm:forEach name="Name9" axis="self" ptType="parTrans">
      <dgm:forEach name="Name10" axis="self" ptType="sibTrans" st="2">
        <dgm:forEach name="dotRepeat" axis="self">
          <dgm:layoutNode name="dotRepeatNode" styleLbl="fgShp">
            <dgm:alg type="sp"/>
            <dgm:shape xmlns:r="http://schemas.openxmlformats.org/officeDocument/2006/relationships" type="ellipse" r:blip="">
              <dgm:adjLst/>
            </dgm:shape>
            <dgm:presOf axis="self"/>
          </dgm:layoutNode>
        </dgm:forEach>
      </dgm:forEach>
    </dgm:forEach>
    <dgm:choose name="Name11">
      <dgm:if name="Name12" axis="ch" ptType="node" func="cnt" op="gte" val="1">
        <dgm:layoutNode name="arrowNode" styleLbl="node1">
          <dgm:alg type="sp"/>
          <dgm:shape xmlns:r="http://schemas.openxmlformats.org/officeDocument/2006/relationships" rot="73.2729" type="swooshArrow" r:blip="">
            <dgm:adjLst>
              <dgm:adj idx="1" val="0.1631"/>
              <dgm:adj idx="2" val="0.3137"/>
            </dgm:adjLst>
          </dgm:shape>
          <dgm:presOf/>
        </dgm:layoutNode>
      </dgm:if>
      <dgm:else name="Name13"/>
    </dgm:choose>
    <dgm:forEach name="Name14" axis="ch" ptType="node" cnt="1">
      <dgm:layoutNode name="txNode1" styleLbl="revTx">
        <dgm:varLst>
          <dgm:bulletEnabled val="1"/>
        </dgm:varLst>
        <dgm:alg type="tx">
          <dgm:param type="txAnchorVert" val="b"/>
        </dgm:alg>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15" axis="ch" ptType="node" st="2" cnt="1">
      <dgm:layoutNode name="txNode2" styleLbl="revTx">
        <dgm:varLst>
          <dgm:bulletEnabled val="1"/>
        </dgm:varLst>
        <dgm:choose name="Name16">
          <dgm:if name="Name17" axis="self" ptType="node" func="revPos" op="equ" val="1">
            <dgm:alg type="tx">
              <dgm:param type="txAnchorVert" val="t"/>
            </dgm:alg>
          </dgm:if>
          <dgm:if name="Name18" axis="self" ptType="node" func="posOdd" op="equ" val="1">
            <dgm:alg type="tx">
              <dgm:param type="parTxLTRAlign" val="r"/>
              <dgm:param type="parTxRTLAlign" val="r"/>
            </dgm:alg>
          </dgm:if>
          <dgm:else name="Name19">
            <dgm:alg type="tx">
              <dgm:param type="parTxLTRAlign" val="l"/>
              <dgm:param type="parTxRTLAlign" val="l"/>
            </dgm:alg>
          </dgm:else>
        </dgm:choose>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20">
        <dgm:if name="Name21" axis="par ch" ptType="all node" func="cnt" op="neq" val="2">
          <dgm:forEach name="Name22" axis="follow" ptType="sibTrans" cnt="1">
            <dgm:layoutNode name="dotNode2">
              <dgm:alg type="sp"/>
              <dgm:shape xmlns:r="http://schemas.openxmlformats.org/officeDocument/2006/relationships" r:blip="">
                <dgm:adjLst/>
              </dgm:shape>
              <dgm:presOf/>
              <dgm:forEach name="Name23" ref="dotRepeat"/>
            </dgm:layoutNode>
          </dgm:forEach>
        </dgm:if>
        <dgm:else name="Name24"/>
      </dgm:choose>
    </dgm:forEach>
    <dgm:forEach name="Name25" axis="ch" ptType="node" st="3" cnt="1">
      <dgm:layoutNode name="txNode3" styleLbl="revTx">
        <dgm:varLst>
          <dgm:bulletEnabled val="1"/>
        </dgm:varLst>
        <dgm:choose name="Name26">
          <dgm:if name="Name27" axis="self" ptType="node" func="revPos" op="equ" val="1">
            <dgm:alg type="tx">
              <dgm:param type="txAnchorVert" val="t"/>
            </dgm:alg>
          </dgm:if>
          <dgm:if name="Name28" axis="self" ptType="node" func="posOdd" op="equ" val="1">
            <dgm:alg type="tx">
              <dgm:param type="parTxLTRAlign" val="r"/>
              <dgm:param type="parTxRTLAlign" val="r"/>
            </dgm:alg>
          </dgm:if>
          <dgm:else name="Name29">
            <dgm:alg type="tx">
              <dgm:param type="parTxLTRAlign" val="l"/>
              <dgm:param type="parTxRTLAlign" val="l"/>
            </dgm:alg>
          </dgm:else>
        </dgm:choose>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30">
        <dgm:if name="Name31" axis="par ch" ptType="all node" func="cnt" op="neq" val="3">
          <dgm:forEach name="Name32" axis="follow" ptType="sibTrans" cnt="1">
            <dgm:layoutNode name="dotNode3">
              <dgm:alg type="sp"/>
              <dgm:shape xmlns:r="http://schemas.openxmlformats.org/officeDocument/2006/relationships" r:blip="">
                <dgm:adjLst/>
              </dgm:shape>
              <dgm:presOf/>
              <dgm:forEach name="Name33" ref="dotRepeat"/>
            </dgm:layoutNode>
          </dgm:forEach>
        </dgm:if>
        <dgm:else name="Name34"/>
      </dgm:choose>
    </dgm:forEach>
    <dgm:forEach name="Name35" axis="ch" ptType="node" st="4" cnt="1">
      <dgm:layoutNode name="txNode4" styleLbl="revTx">
        <dgm:varLst>
          <dgm:bulletEnabled val="1"/>
        </dgm:varLst>
        <dgm:choose name="Name36">
          <dgm:if name="Name37" axis="self" ptType="node" func="revPos" op="equ" val="1">
            <dgm:alg type="tx">
              <dgm:param type="txAnchorVert" val="t"/>
            </dgm:alg>
          </dgm:if>
          <dgm:if name="Name38" axis="self" ptType="node" func="posOdd" op="equ" val="1">
            <dgm:alg type="tx">
              <dgm:param type="parTxLTRAlign" val="r"/>
              <dgm:param type="parTxRTLAlign" val="r"/>
            </dgm:alg>
          </dgm:if>
          <dgm:else name="Name39">
            <dgm:alg type="tx">
              <dgm:param type="parTxLTRAlign" val="l"/>
              <dgm:param type="parTxRTLAlign" val="l"/>
            </dgm:alg>
          </dgm:else>
        </dgm:choose>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40">
        <dgm:if name="Name41" axis="par ch" ptType="all node" func="cnt" op="neq" val="4">
          <dgm:forEach name="Name42" axis="follow" ptType="sibTrans" cnt="1">
            <dgm:layoutNode name="dotNode4">
              <dgm:alg type="sp"/>
              <dgm:shape xmlns:r="http://schemas.openxmlformats.org/officeDocument/2006/relationships" r:blip="">
                <dgm:adjLst/>
              </dgm:shape>
              <dgm:presOf/>
              <dgm:forEach name="Name43" ref="dotRepeat"/>
            </dgm:layoutNode>
          </dgm:forEach>
        </dgm:if>
        <dgm:else name="Name44"/>
      </dgm:choose>
    </dgm:forEach>
    <dgm:forEach name="Name45" axis="ch" ptType="node" st="5" cnt="1">
      <dgm:layoutNode name="txNode5" styleLbl="revTx">
        <dgm:varLst>
          <dgm:bulletEnabled val="1"/>
        </dgm:varLst>
        <dgm:choose name="Name46">
          <dgm:if name="Name47" axis="self" ptType="node" func="revPos" op="equ" val="1">
            <dgm:alg type="tx">
              <dgm:param type="txAnchorVert" val="t"/>
            </dgm:alg>
          </dgm:if>
          <dgm:if name="Name48" axis="self" ptType="node" func="posOdd" op="equ" val="1">
            <dgm:alg type="tx">
              <dgm:param type="parTxLTRAlign" val="r"/>
              <dgm:param type="parTxRTLAlign" val="r"/>
            </dgm:alg>
          </dgm:if>
          <dgm:else name="Name49">
            <dgm:alg type="tx">
              <dgm:param type="parTxLTRAlign" val="l"/>
              <dgm:param type="parTxRTLAlign" val="l"/>
            </dgm:alg>
          </dgm:else>
        </dgm:choose>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50">
        <dgm:if name="Name51" axis="par ch" ptType="all node" func="cnt" op="neq" val="5">
          <dgm:forEach name="Name52" axis="follow" ptType="sibTrans" cnt="1">
            <dgm:layoutNode name="dotNode5">
              <dgm:alg type="sp"/>
              <dgm:shape xmlns:r="http://schemas.openxmlformats.org/officeDocument/2006/relationships" r:blip="">
                <dgm:adjLst/>
              </dgm:shape>
              <dgm:presOf/>
              <dgm:forEach name="Name53" ref="dotRepeat"/>
            </dgm:layoutNode>
          </dgm:forEach>
        </dgm:if>
        <dgm:else name="Name54"/>
      </dgm:choose>
    </dgm:forEach>
    <dgm:forEach name="Name55" axis="ch" ptType="node" st="6" cnt="1">
      <dgm:layoutNode name="txNode6" styleLbl="revTx">
        <dgm:varLst>
          <dgm:bulletEnabled val="1"/>
        </dgm:varLst>
        <dgm:choose name="Name56">
          <dgm:if name="Name57" axis="self" ptType="node" func="revPos" op="equ" val="1">
            <dgm:alg type="tx">
              <dgm:param type="txAnchorVert" val="t"/>
            </dgm:alg>
          </dgm:if>
          <dgm:if name="Name58" axis="self" ptType="node" func="posOdd" op="equ" val="1">
            <dgm:alg type="tx">
              <dgm:param type="parTxLTRAlign" val="r"/>
              <dgm:param type="parTxRTLAlign" val="r"/>
            </dgm:alg>
          </dgm:if>
          <dgm:else name="Name59">
            <dgm:alg type="tx">
              <dgm:param type="parTxLTRAlign" val="l"/>
              <dgm:param type="parTxRTLAlign" val="l"/>
            </dgm:alg>
          </dgm:else>
        </dgm:choose>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60">
        <dgm:if name="Name61" axis="par ch" ptType="all node" func="cnt" op="neq" val="6">
          <dgm:forEach name="Name62" axis="follow" ptType="sibTrans" cnt="1">
            <dgm:layoutNode name="dotNode6">
              <dgm:alg type="sp"/>
              <dgm:shape xmlns:r="http://schemas.openxmlformats.org/officeDocument/2006/relationships" r:blip="">
                <dgm:adjLst/>
              </dgm:shape>
              <dgm:presOf/>
              <dgm:forEach name="Name63" ref="dotRepeat"/>
            </dgm:layoutNode>
          </dgm:forEach>
        </dgm:if>
        <dgm:else name="Name64"/>
      </dgm:choose>
    </dgm:forEach>
    <dgm:forEach name="Name65" axis="ch" ptType="node" st="7" cnt="1">
      <dgm:layoutNode name="txNode7" styleLbl="revTx">
        <dgm:varLst>
          <dgm:bulletEnabled val="1"/>
        </dgm:varLst>
        <dgm:alg type="tx">
          <dgm:param type="txAnchorVert" val="t"/>
        </dgm:alg>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9/3/layout/RandomtoResultProcess">
  <dgm:title val=""/>
  <dgm:desc val=""/>
  <dgm:catLst>
    <dgm:cat type="process" pri="1275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41" srcId="1" destId="11" srcOrd="0" destOrd="0"/>
        <dgm:cxn modelId="5" srcId="0" destId="2" srcOrd="0" destOrd="0"/>
        <dgm:cxn modelId="51" srcId="2" destId="21" srcOrd="0"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clrData>
  <dgm:layoutNode name="Name0">
    <dgm:varLst>
      <dgm:dir/>
      <dgm:animOne val="branch"/>
      <dgm:animLvl val="lvl"/>
    </dgm:varLst>
    <dgm:choose name="Name1">
      <dgm:if name="Name2" func="var" arg="dir" op="equ" val="norm">
        <dgm:alg type="lin">
          <dgm:param type="fallback" val="2D"/>
          <dgm:param type="nodeVertAlign" val="t"/>
        </dgm:alg>
      </dgm:if>
      <dgm:else name="Name3">
        <dgm:alg type="lin">
          <dgm:param type="fallback" val="2D"/>
          <dgm:param type="nodeVertAlign" val="t"/>
          <dgm:param type="linDir" val="fromR"/>
        </dgm:alg>
      </dgm:else>
    </dgm:choose>
    <dgm:shape xmlns:r="http://schemas.openxmlformats.org/officeDocument/2006/relationships" r:blip="">
      <dgm:adjLst/>
    </dgm:shape>
    <dgm:constrLst>
      <dgm:constr type="userH" refType="h" fact="2"/>
      <dgm:constr type="w" for="ch" forName="chaos" refType="userH" fact="0.681"/>
      <dgm:constr type="h" for="ch" forName="chaos" refType="userH"/>
      <dgm:constr type="w" for="ch" forName="middle" refType="userH" fact="0.6"/>
      <dgm:constr type="h" for="ch" forName="middle" refType="userH"/>
      <dgm:constr type="w" for="ch" forName="last" refType="userH" fact="0.6"/>
      <dgm:constr type="h" for="ch" forName="last" refType="userH"/>
      <dgm:constr type="w" for="ch" forName="chevronComposite1" refType="userH" fact="0.22"/>
      <dgm:constr type="h" for="ch" forName="chevronComposite1" refType="userH" fact="0.52"/>
      <dgm:constr type="w" for="ch" forName="chevronComposite2" refType="userH" fact="0.22"/>
      <dgm:constr type="h" for="ch" forName="chevronComposite2" refType="userH" fact="0.52"/>
      <dgm:constr type="w" for="ch" forName="overlap" refType="userH" fact="-0.04"/>
      <dgm:constr type="h" for="ch" forName="overlap" refType="userH" fact="0.06"/>
      <dgm:constr type="primFontSz" for="des" forName="parTx1" op="equ" val="65"/>
      <dgm:constr type="primFontSz" for="des" forName="parTxMid" refType="primFontSz" refFor="des" refForName="parTx1" op="equ"/>
      <dgm:constr type="primFontSz" for="des" forName="circleTx" refType="primFontSz" refFor="des" refForName="parTx1" op="equ"/>
      <dgm:constr type="primFontSz" for="des" forName="desTx1" op="equ" val="65"/>
      <dgm:constr type="primFontSz" for="des" forName="desTxMid" refType="primFontSz" refFor="des" refForName="desTx1" op="equ"/>
      <dgm:constr type="primFontSz" for="des" forName="desTxN" refType="primFontSz" refFor="des" refForName="desTx1" op="equ"/>
    </dgm:constrLst>
    <dgm:forEach name="Name4" axis="ch" ptType="node">
      <dgm:choose name="Name5">
        <dgm:if name="Name6" axis="self" ptType="node" func="pos" op="equ" val="1">
          <dgm:layoutNode name="chaos">
            <dgm:alg type="composite"/>
            <dgm:shape xmlns:r="http://schemas.openxmlformats.org/officeDocument/2006/relationships" r:blip="">
              <dgm:adjLst/>
            </dgm:shape>
            <dgm:presOf/>
            <dgm:constrLst>
              <dgm:constr type="ctrX" for="ch" forName="parTx1" refType="w" fact="0.5"/>
              <dgm:constr type="t" for="ch" forName="parTx1" refType="w" fact="0.32"/>
              <dgm:constr type="w" for="ch" forName="parTx1" refType="w" fact="0.88"/>
              <dgm:constr type="h" for="ch" forName="parTx1" refType="w" fact="0.29"/>
              <dgm:constr type="ctrX" for="ch" forName="desTx1" refType="w" fact="0.5"/>
              <dgm:constr type="b" for="ch" forName="desTx1" refType="h"/>
              <dgm:constr type="w" for="ch" forName="desTx1" refType="w" fact="0.88"/>
              <dgm:constr type="h" for="ch" forName="desTx1" refType="h" fact="0.37"/>
              <dgm:constr type="l" for="ch" forName="c1" refType="w" fact="0.05"/>
              <dgm:constr type="t" for="ch" forName="c1" refType="w" fact="0.23"/>
              <dgm:constr type="w" for="ch" forName="c1" refType="w" fact="0.07"/>
              <dgm:constr type="h" for="ch" forName="c1" refType="w" refFor="ch" refForName="c1"/>
              <dgm:constr type="l" for="ch" forName="c2" refType="w" fact="0.1"/>
              <dgm:constr type="t" for="ch" forName="c2" refType="w" fact="0.13"/>
              <dgm:constr type="w" for="ch" forName="c2" refType="w" fact="0.07"/>
              <dgm:constr type="h" for="ch" forName="c2" refType="w" refFor="ch" refForName="c2"/>
              <dgm:constr type="l" for="ch" forName="c3" refType="w" fact="0.22"/>
              <dgm:constr type="t" for="ch" forName="c3" refType="w" fact="0.15"/>
              <dgm:constr type="w" for="ch" forName="c3" refType="w" fact="0.11"/>
              <dgm:constr type="h" for="ch" forName="c3" refType="w" refFor="ch" refForName="c3"/>
              <dgm:constr type="l" for="ch" forName="c4" refType="w" fact="0.32"/>
              <dgm:constr type="t" for="ch" forName="c4" refType="w" fact="0.04"/>
              <dgm:constr type="w" for="ch" forName="c4" refType="w" fact="0.07"/>
              <dgm:constr type="h" for="ch" forName="c4" refType="w" refFor="ch" refForName="c4"/>
              <dgm:constr type="l" for="ch" forName="c5" refType="w" fact="0.45"/>
              <dgm:constr type="t" for="ch" forName="c5" refType="w" fact="0"/>
              <dgm:constr type="w" for="ch" forName="c5" refType="w" fact="0.07"/>
              <dgm:constr type="h" for="ch" forName="c5" refType="w" refFor="ch" refForName="c5"/>
              <dgm:constr type="l" for="ch" forName="c6" refType="w" fact="0.61"/>
              <dgm:constr type="t" for="ch" forName="c6" refType="w" fact="0.07"/>
              <dgm:constr type="w" for="ch" forName="c6" refType="w" fact="0.07"/>
              <dgm:constr type="h" for="ch" forName="c6" refType="w" refFor="ch" refForName="c6"/>
              <dgm:constr type="l" for="ch" forName="c7" refType="w" fact="0.71"/>
              <dgm:constr type="t" for="ch" forName="c7" refType="w" fact="0.12"/>
              <dgm:constr type="w" for="ch" forName="c7" refType="w" fact="0.11"/>
              <dgm:constr type="h" for="ch" forName="c7" refType="w" refFor="ch" refForName="c7"/>
              <dgm:constr type="l" for="ch" forName="c8" refType="w" fact="0.85"/>
              <dgm:constr type="t" for="ch" forName="c8" refType="w" fact="0.23"/>
              <dgm:constr type="w" for="ch" forName="c8" refType="w" fact="0.07"/>
              <dgm:constr type="h" for="ch" forName="c8" refType="w" refFor="ch" refForName="c8"/>
              <dgm:constr type="l" for="ch" forName="c9" refType="w" fact="0.91"/>
              <dgm:constr type="t" for="ch" forName="c9" refType="w" fact="0.34"/>
              <dgm:constr type="w" for="ch" forName="c9" refType="w" fact="0.07"/>
              <dgm:constr type="h" for="ch" forName="c9" refType="w" refFor="ch" refForName="c9"/>
              <dgm:constr type="l" for="ch" forName="c10" refType="w" fact="0.39"/>
              <dgm:constr type="t" for="ch" forName="c10" refType="w" fact="0.13"/>
              <dgm:constr type="w" for="ch" forName="c10" refType="w" fact="0.18"/>
              <dgm:constr type="h" for="ch" forName="c10" refType="w" refFor="ch" refForName="c10"/>
              <dgm:constr type="l" for="ch" forName="c11" refType="w" fact="0"/>
              <dgm:constr type="t" for="ch" forName="c11" refType="w" fact="0.51"/>
              <dgm:constr type="w" for="ch" forName="c11" refType="w" fact="0.07"/>
              <dgm:constr type="h" for="ch" forName="c11" refType="w" refFor="ch" refForName="c11"/>
              <dgm:constr type="l" for="ch" forName="c12" refType="w" fact="0.06"/>
              <dgm:constr type="t" for="ch" forName="c12" refType="w" fact="0.6"/>
              <dgm:constr type="w" for="ch" forName="c12" refType="w" fact="0.11"/>
              <dgm:constr type="h" for="ch" forName="c12" refType="w" refFor="ch" refForName="c12"/>
              <dgm:constr type="l" for="ch" forName="c13" refType="w" fact="0.21"/>
              <dgm:constr type="t" for="ch" forName="c13" refType="w" fact="0.68"/>
              <dgm:constr type="w" for="ch" forName="c13" refType="w" fact="0.16"/>
              <dgm:constr type="h" for="ch" forName="c13" refType="w" refFor="ch" refForName="c13"/>
              <dgm:constr type="l" for="ch" forName="c14" refType="w" fact="0.42"/>
              <dgm:constr type="t" for="ch" forName="c14" refType="w" fact="0.81"/>
              <dgm:constr type="w" for="ch" forName="c14" refType="w" fact="0.07"/>
              <dgm:constr type="h" for="ch" forName="c14" refType="w" refFor="ch" refForName="c14"/>
              <dgm:constr type="l" for="ch" forName="c15" refType="w" fact="0.46"/>
              <dgm:constr type="t" for="ch" forName="c15" refType="w" fact="0.68"/>
              <dgm:constr type="w" for="ch" forName="c15" refType="w" fact="0.11"/>
              <dgm:constr type="h" for="ch" forName="c15" refType="w" refFor="ch" refForName="c15"/>
              <dgm:constr type="l" for="ch" forName="c16" refType="w" fact="0.56"/>
              <dgm:constr type="t" for="ch" forName="c16" refType="w" fact="0.82"/>
              <dgm:constr type="w" for="ch" forName="c16" refType="w" fact="0.07"/>
              <dgm:constr type="h" for="ch" forName="c16" refType="w" refFor="ch" refForName="c16"/>
              <dgm:constr type="l" for="ch" forName="c17" refType="w" fact="0.65"/>
              <dgm:constr type="t" for="ch" forName="c17" refType="w" fact="0.66"/>
              <dgm:constr type="w" for="ch" forName="c17" refType="w" fact="0.16"/>
              <dgm:constr type="h" for="ch" forName="c17" refType="w" refFor="ch" refForName="c17"/>
              <dgm:constr type="l" for="ch" forName="c18" refType="w" fact="0.87"/>
              <dgm:constr type="t" for="ch" forName="c18" refType="w" fact="0.62"/>
              <dgm:constr type="w" for="ch" forName="c18" refType="w" fact="0.11"/>
              <dgm:constr type="h" for="ch" forName="c18" refType="w" refFor="ch" refForName="c18"/>
            </dgm:constrLst>
            <dgm:layoutNode name="parTx1" styleLbl="revTx">
              <dgm:alg type="tx"/>
              <dgm:shape xmlns:r="http://schemas.openxmlformats.org/officeDocument/2006/relationships" type="rect"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7">
              <dgm:if name="Name8" axis="ch" ptType="node" func="cnt" op="gte" val="1">
                <dgm:layoutNode name="desTx1" styleLbl="revTx">
                  <dgm:varLst>
                    <dgm:bulletEnabled val="1"/>
                  </dgm:varLst>
                  <dgm:choose name="Name9">
                    <dgm:if name="Name10" axis="ch" ptType="node" func="cnt" op="equ" val="1">
                      <dgm:alg type="tx">
                        <dgm:param type="shpTxLTRAlignCh" val="l"/>
                      </dgm:alg>
                    </dgm:if>
                    <dgm:else name="Name11">
                      <dgm:alg type="tx">
                        <dgm:param type="shpTxLTRAlignCh" val="l"/>
                        <dgm:param type="stBulletLvl" val="1"/>
                      </dgm:alg>
                    </dgm:else>
                  </dgm:choose>
                  <dgm:shape xmlns:r="http://schemas.openxmlformats.org/officeDocument/2006/relationships" type="rect" r:blip="">
                    <dgm:adjLst/>
                  </dgm:shape>
                  <dgm:presOf axis="des"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if>
              <dgm:else name="Name12"/>
            </dgm:choose>
            <dgm:layoutNode name="c1" styleLbl="node1">
              <dgm:alg type="sp"/>
              <dgm:shape xmlns:r="http://schemas.openxmlformats.org/officeDocument/2006/relationships" type="ellipse" r:blip="">
                <dgm:adjLst/>
              </dgm:shape>
              <dgm:presOf/>
            </dgm:layoutNode>
            <dgm:layoutNode name="c2" styleLbl="node1">
              <dgm:alg type="sp"/>
              <dgm:shape xmlns:r="http://schemas.openxmlformats.org/officeDocument/2006/relationships" type="ellipse" r:blip="">
                <dgm:adjLst/>
              </dgm:shape>
              <dgm:presOf/>
            </dgm:layoutNode>
            <dgm:layoutNode name="c3" styleLbl="node1">
              <dgm:alg type="sp"/>
              <dgm:shape xmlns:r="http://schemas.openxmlformats.org/officeDocument/2006/relationships" type="ellipse" r:blip="">
                <dgm:adjLst/>
              </dgm:shape>
              <dgm:presOf/>
            </dgm:layoutNode>
            <dgm:layoutNode name="c4" styleLbl="node1">
              <dgm:alg type="sp"/>
              <dgm:shape xmlns:r="http://schemas.openxmlformats.org/officeDocument/2006/relationships" type="ellipse" r:blip="">
                <dgm:adjLst/>
              </dgm:shape>
              <dgm:presOf/>
            </dgm:layoutNode>
            <dgm:layoutNode name="c5" styleLbl="node1">
              <dgm:alg type="sp"/>
              <dgm:shape xmlns:r="http://schemas.openxmlformats.org/officeDocument/2006/relationships" type="ellipse" r:blip="">
                <dgm:adjLst/>
              </dgm:shape>
              <dgm:presOf/>
            </dgm:layoutNode>
            <dgm:layoutNode name="c6" styleLbl="node1">
              <dgm:alg type="sp"/>
              <dgm:shape xmlns:r="http://schemas.openxmlformats.org/officeDocument/2006/relationships" type="ellipse" r:blip="">
                <dgm:adjLst/>
              </dgm:shape>
              <dgm:presOf/>
            </dgm:layoutNode>
            <dgm:layoutNode name="c7" styleLbl="node1">
              <dgm:alg type="sp"/>
              <dgm:shape xmlns:r="http://schemas.openxmlformats.org/officeDocument/2006/relationships" type="ellipse" r:blip="">
                <dgm:adjLst/>
              </dgm:shape>
              <dgm:presOf/>
            </dgm:layoutNode>
            <dgm:layoutNode name="c8" styleLbl="node1">
              <dgm:alg type="sp"/>
              <dgm:shape xmlns:r="http://schemas.openxmlformats.org/officeDocument/2006/relationships" type="ellipse" r:blip="">
                <dgm:adjLst/>
              </dgm:shape>
              <dgm:presOf/>
            </dgm:layoutNode>
            <dgm:layoutNode name="c9" styleLbl="node1">
              <dgm:alg type="sp"/>
              <dgm:shape xmlns:r="http://schemas.openxmlformats.org/officeDocument/2006/relationships" type="ellipse" r:blip="">
                <dgm:adjLst/>
              </dgm:shape>
              <dgm:presOf/>
            </dgm:layoutNode>
            <dgm:layoutNode name="c10" styleLbl="node1">
              <dgm:alg type="sp"/>
              <dgm:shape xmlns:r="http://schemas.openxmlformats.org/officeDocument/2006/relationships" type="ellipse" r:blip="">
                <dgm:adjLst/>
              </dgm:shape>
              <dgm:presOf/>
            </dgm:layoutNode>
            <dgm:layoutNode name="c11" styleLbl="node1">
              <dgm:alg type="sp"/>
              <dgm:shape xmlns:r="http://schemas.openxmlformats.org/officeDocument/2006/relationships" type="ellipse" r:blip="">
                <dgm:adjLst/>
              </dgm:shape>
              <dgm:presOf/>
            </dgm:layoutNode>
            <dgm:layoutNode name="c12" styleLbl="node1">
              <dgm:alg type="sp"/>
              <dgm:shape xmlns:r="http://schemas.openxmlformats.org/officeDocument/2006/relationships" type="ellipse" r:blip="">
                <dgm:adjLst/>
              </dgm:shape>
              <dgm:presOf/>
            </dgm:layoutNode>
            <dgm:layoutNode name="c13" styleLbl="node1">
              <dgm:alg type="sp"/>
              <dgm:shape xmlns:r="http://schemas.openxmlformats.org/officeDocument/2006/relationships" type="ellipse" r:blip="">
                <dgm:adjLst/>
              </dgm:shape>
              <dgm:presOf/>
            </dgm:layoutNode>
            <dgm:layoutNode name="c14" styleLbl="node1">
              <dgm:alg type="sp"/>
              <dgm:shape xmlns:r="http://schemas.openxmlformats.org/officeDocument/2006/relationships" type="ellipse" r:blip="">
                <dgm:adjLst/>
              </dgm:shape>
              <dgm:presOf/>
            </dgm:layoutNode>
            <dgm:layoutNode name="c15" styleLbl="node1">
              <dgm:alg type="sp"/>
              <dgm:shape xmlns:r="http://schemas.openxmlformats.org/officeDocument/2006/relationships" type="ellipse" r:blip="">
                <dgm:adjLst/>
              </dgm:shape>
              <dgm:presOf/>
            </dgm:layoutNode>
            <dgm:layoutNode name="c16" styleLbl="node1">
              <dgm:alg type="sp"/>
              <dgm:shape xmlns:r="http://schemas.openxmlformats.org/officeDocument/2006/relationships" type="ellipse" r:blip="">
                <dgm:adjLst/>
              </dgm:shape>
              <dgm:presOf/>
            </dgm:layoutNode>
            <dgm:layoutNode name="c17" styleLbl="node1">
              <dgm:alg type="sp"/>
              <dgm:shape xmlns:r="http://schemas.openxmlformats.org/officeDocument/2006/relationships" type="ellipse" r:blip="">
                <dgm:adjLst/>
              </dgm:shape>
              <dgm:presOf/>
            </dgm:layoutNode>
            <dgm:layoutNode name="c18" styleLbl="node1">
              <dgm:alg type="sp"/>
              <dgm:shape xmlns:r="http://schemas.openxmlformats.org/officeDocument/2006/relationships" type="ellipse" r:blip="">
                <dgm:adjLst/>
              </dgm:shape>
              <dgm:presOf/>
            </dgm:layoutNode>
          </dgm:layoutNode>
        </dgm:if>
        <dgm:if name="Name13" axis="self" ptType="node" func="revPos" op="equ" val="1">
          <dgm:layoutNode name="last">
            <dgm:alg type="composite"/>
            <dgm:shape xmlns:r="http://schemas.openxmlformats.org/officeDocument/2006/relationships" r:blip="">
              <dgm:adjLst/>
            </dgm:shape>
            <dgm:presOf/>
            <dgm:constrLst>
              <dgm:constr type="ctrX" for="ch" forName="circleTx" refType="w" fact="0.5"/>
              <dgm:constr type="t" for="ch" forName="circleTx" refType="w" fact="0.117"/>
              <dgm:constr type="w" for="ch" forName="circleTx" refType="h" refFor="ch" refForName="circleTx"/>
              <dgm:constr type="h" for="ch" forName="circleTx" refType="w" fact="0.85"/>
              <dgm:constr type="l" for="ch" forName="desTxN"/>
              <dgm:constr type="b" for="ch" forName="desTxN" refType="h"/>
              <dgm:constr type="w" for="ch" forName="desTxN" refType="w"/>
              <dgm:constr type="h" for="ch" forName="desTxN" refType="h" fact="0.37"/>
              <dgm:constr type="ctrX" for="ch" forName="spN" refType="w" fact="0.5"/>
              <dgm:constr type="t" for="ch" forName="spN"/>
              <dgm:constr type="w" for="ch" forName="spN" refType="w" fact="0.93"/>
              <dgm:constr type="h" for="ch" forName="spN" refType="h" fact="0.01"/>
            </dgm:constrLst>
            <dgm:layoutNode name="circleTx" styleLbl="node1">
              <dgm:alg type="tx"/>
              <dgm:shape xmlns:r="http://schemas.openxmlformats.org/officeDocument/2006/relationships" type="ellipse" r:blip="">
                <dgm:adjLst/>
              </dgm:shape>
              <dgm:presOf axis="self" ptType="node"/>
              <dgm:constrLst>
                <dgm:constr type="lMarg"/>
                <dgm:constr type="rMarg"/>
                <dgm:constr type="tMarg"/>
                <dgm:constr type="bMarg"/>
              </dgm:constrLst>
              <dgm:ruleLst>
                <dgm:rule type="primFontSz" val="5" fact="NaN" max="NaN"/>
              </dgm:ruleLst>
            </dgm:layoutNode>
            <dgm:choose name="Name14">
              <dgm:if name="Name15" axis="ch" ptType="node" func="cnt" op="gte" val="1">
                <dgm:layoutNode name="desTxN" styleLbl="revTx">
                  <dgm:varLst>
                    <dgm:bulletEnabled val="1"/>
                  </dgm:varLst>
                  <dgm:choose name="Name16">
                    <dgm:if name="Name17" axis="ch" ptType="node" func="cnt" op="equ" val="1">
                      <dgm:alg type="tx">
                        <dgm:param type="shpTxLTRAlignCh" val="l"/>
                      </dgm:alg>
                    </dgm:if>
                    <dgm:else name="Name18">
                      <dgm:alg type="tx">
                        <dgm:param type="shpTxLTRAlignCh" val="l"/>
                        <dgm:param type="stBulletLvl" val="1"/>
                      </dgm:alg>
                    </dgm:else>
                  </dgm:choose>
                  <dgm:shape xmlns:r="http://schemas.openxmlformats.org/officeDocument/2006/relationships" type="rect" r:blip="">
                    <dgm:adjLst/>
                  </dgm:shape>
                  <dgm:presOf axis="des"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if>
              <dgm:else name="Name19"/>
            </dgm:choose>
            <dgm:layoutNode name="spN">
              <dgm:alg type="sp"/>
              <dgm:shape xmlns:r="http://schemas.openxmlformats.org/officeDocument/2006/relationships" r:blip="">
                <dgm:adjLst/>
              </dgm:shape>
              <dgm:presOf/>
            </dgm:layoutNode>
          </dgm:layoutNode>
        </dgm:if>
        <dgm:else name="Name20">
          <dgm:layoutNode name="middle">
            <dgm:alg type="composite"/>
            <dgm:shape xmlns:r="http://schemas.openxmlformats.org/officeDocument/2006/relationships" r:blip="">
              <dgm:adjLst/>
            </dgm:shape>
            <dgm:presOf/>
            <dgm:constrLst>
              <dgm:constr type="l" for="ch" forName="parTxMid"/>
              <dgm:constr type="t" for="ch" forName="parTxMid" refType="w" fact="0.167"/>
              <dgm:constr type="w" for="ch" forName="parTxMid" refType="w"/>
              <dgm:constr type="h" for="ch" forName="parTxMid" refType="w" fact="0.7"/>
              <dgm:constr type="l" for="ch" forName="desTxMid"/>
              <dgm:constr type="b" for="ch" forName="desTxMid" refType="h"/>
              <dgm:constr type="w" for="ch" forName="desTxMid" refType="w"/>
              <dgm:constr type="h" for="ch" forName="desTxMid" refType="h" fact="0.37"/>
              <dgm:constr type="ctrX" for="ch" forName="spMid" refType="w" fact="0.5"/>
              <dgm:constr type="t" for="ch" forName="spMid"/>
              <dgm:constr type="w" for="ch" forName="spMid" refType="w" fact="0.01"/>
              <dgm:constr type="h" for="ch" forName="spMid" refType="h" fact="0.01"/>
            </dgm:constrLst>
            <dgm:layoutNode name="parTxMid" styleLbl="revTx">
              <dgm:alg type="tx"/>
              <dgm:shape xmlns:r="http://schemas.openxmlformats.org/officeDocument/2006/relationships" type="rect"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21">
              <dgm:if name="Name22" axis="ch" ptType="node" func="cnt" op="gte" val="1">
                <dgm:layoutNode name="desTxMid" styleLbl="revTx">
                  <dgm:varLst>
                    <dgm:bulletEnabled val="1"/>
                  </dgm:varLst>
                  <dgm:choose name="Name23">
                    <dgm:if name="Name24" axis="ch" ptType="node" func="cnt" op="equ" val="1">
                      <dgm:alg type="tx">
                        <dgm:param type="shpTxLTRAlignCh" val="l"/>
                      </dgm:alg>
                    </dgm:if>
                    <dgm:else name="Name25">
                      <dgm:alg type="tx">
                        <dgm:param type="shpTxLTRAlignCh" val="l"/>
                        <dgm:param type="stBulletLvl" val="1"/>
                      </dgm:alg>
                    </dgm:else>
                  </dgm:choose>
                  <dgm:shape xmlns:r="http://schemas.openxmlformats.org/officeDocument/2006/relationships" type="rect" r:blip="">
                    <dgm:adjLst/>
                  </dgm:shape>
                  <dgm:presOf axis="des"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if>
              <dgm:else name="Name26"/>
            </dgm:choose>
            <dgm:layoutNode name="spMid">
              <dgm:alg type="sp"/>
              <dgm:shape xmlns:r="http://schemas.openxmlformats.org/officeDocument/2006/relationships" r:blip="">
                <dgm:adjLst/>
              </dgm:shape>
              <dgm:presOf/>
            </dgm:layoutNode>
          </dgm:layoutNode>
        </dgm:else>
      </dgm:choose>
      <dgm:forEach name="Name27" axis="followSib" ptType="sibTrans" cnt="1">
        <dgm:layoutNode name="chevronComposite1" styleLbl="alignImgPlace1">
          <dgm:alg type="composite"/>
          <dgm:shape xmlns:r="http://schemas.openxmlformats.org/officeDocument/2006/relationships" r:blip="">
            <dgm:adjLst/>
          </dgm:shape>
          <dgm:presOf/>
          <dgm:constrLst>
            <dgm:constr type="l" for="ch" forName="chevron1"/>
            <dgm:constr type="t" for="ch" forName="chevron1" refType="h" fact="0.1923"/>
            <dgm:constr type="w" for="ch" forName="chevron1" refType="w"/>
            <dgm:constr type="b" for="ch" forName="chevron1" refType="h"/>
            <dgm:constr type="l" for="ch" forName="spChevron1"/>
            <dgm:constr type="t" for="ch" forName="spChevron1"/>
            <dgm:constr type="w" for="ch" forName="spChevron1" refType="w" fact="0.01"/>
            <dgm:constr type="h" for="ch" forName="spChevron1" refType="h" fact="0.01"/>
          </dgm:constrLst>
          <dgm:layoutNode name="chevron1">
            <dgm:alg type="sp"/>
            <dgm:choose name="Name28">
              <dgm:if name="Name29" func="var" arg="dir" op="equ" val="norm">
                <dgm:shape xmlns:r="http://schemas.openxmlformats.org/officeDocument/2006/relationships" type="chevron" r:blip="">
                  <dgm:adjLst>
                    <dgm:adj idx="1" val="0.6231"/>
                  </dgm:adjLst>
                </dgm:shape>
              </dgm:if>
              <dgm:else name="Name30">
                <dgm:shape xmlns:r="http://schemas.openxmlformats.org/officeDocument/2006/relationships" rot="180" type="chevron" r:blip="">
                  <dgm:adjLst>
                    <dgm:adj idx="1" val="0.6231"/>
                  </dgm:adjLst>
                </dgm:shape>
              </dgm:else>
            </dgm:choose>
            <dgm:presOf/>
          </dgm:layoutNode>
          <dgm:layoutNode name="spChevron1">
            <dgm:alg type="sp"/>
            <dgm:shape xmlns:r="http://schemas.openxmlformats.org/officeDocument/2006/relationships" r:blip="">
              <dgm:adjLst/>
            </dgm:shape>
            <dgm:presOf/>
          </dgm:layoutNode>
        </dgm:layoutNode>
        <dgm:choose name="Name31">
          <dgm:if name="Name32" axis="root ch" ptType="all node" func="cnt" op="equ" val="2">
            <dgm:layoutNode name="overlap">
              <dgm:alg type="sp"/>
              <dgm:shape xmlns:r="http://schemas.openxmlformats.org/officeDocument/2006/relationships" r:blip="">
                <dgm:adjLst/>
              </dgm:shape>
              <dgm:presOf/>
            </dgm:layoutNode>
            <dgm:layoutNode name="chevronComposite2" styleLbl="alignImgPlace1">
              <dgm:alg type="composite"/>
              <dgm:shape xmlns:r="http://schemas.openxmlformats.org/officeDocument/2006/relationships" r:blip="">
                <dgm:adjLst/>
              </dgm:shape>
              <dgm:presOf/>
              <dgm:constrLst>
                <dgm:constr type="l" for="ch" forName="chevron2"/>
                <dgm:constr type="t" for="ch" forName="chevron2" refType="h" fact="0.1923"/>
                <dgm:constr type="w" for="ch" forName="chevron2" refType="w"/>
                <dgm:constr type="b" for="ch" forName="chevron2" refType="h"/>
                <dgm:constr type="l" for="ch" forName="spChevron2"/>
                <dgm:constr type="t" for="ch" forName="spChevron2"/>
                <dgm:constr type="w" for="ch" forName="spChevron2" refType="w" fact="0.01"/>
                <dgm:constr type="h" for="ch" forName="spChevron2" refType="h" fact="0.01"/>
              </dgm:constrLst>
              <dgm:layoutNode name="chevron2">
                <dgm:alg type="sp"/>
                <dgm:choose name="Name33">
                  <dgm:if name="Name34" func="var" arg="dir" op="equ" val="norm">
                    <dgm:shape xmlns:r="http://schemas.openxmlformats.org/officeDocument/2006/relationships" type="chevron" r:blip="">
                      <dgm:adjLst>
                        <dgm:adj idx="1" val="0.6231"/>
                      </dgm:adjLst>
                    </dgm:shape>
                  </dgm:if>
                  <dgm:else name="Name35">
                    <dgm:shape xmlns:r="http://schemas.openxmlformats.org/officeDocument/2006/relationships" rot="180" type="chevron" r:blip="">
                      <dgm:adjLst>
                        <dgm:adj idx="1" val="0.6231"/>
                      </dgm:adjLst>
                    </dgm:shape>
                  </dgm:else>
                </dgm:choose>
                <dgm:presOf/>
              </dgm:layoutNode>
              <dgm:layoutNode name="spChevron2">
                <dgm:alg type="sp"/>
                <dgm:shape xmlns:r="http://schemas.openxmlformats.org/officeDocument/2006/relationships" r:blip="">
                  <dgm:adjLst/>
                </dgm:shape>
                <dgm:presOf/>
              </dgm:layoutNode>
            </dgm:layoutNode>
          </dgm:if>
          <dgm:else name="Name36"/>
        </dgm:choos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5.xml><?xml version="1.0" encoding="utf-8"?>
<dgm:layoutDef xmlns:dgm="http://schemas.openxmlformats.org/drawingml/2006/diagram" xmlns:a="http://schemas.openxmlformats.org/drawingml/2006/main" uniqueId="urn:microsoft.com/office/officeart/2009/3/layout/RandomtoResultProcess">
  <dgm:title val=""/>
  <dgm:desc val=""/>
  <dgm:catLst>
    <dgm:cat type="process" pri="1275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41" srcId="1" destId="11" srcOrd="0" destOrd="0"/>
        <dgm:cxn modelId="5" srcId="0" destId="2" srcOrd="0" destOrd="0"/>
        <dgm:cxn modelId="51" srcId="2" destId="21" srcOrd="0"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clrData>
  <dgm:layoutNode name="Name0">
    <dgm:varLst>
      <dgm:dir/>
      <dgm:animOne val="branch"/>
      <dgm:animLvl val="lvl"/>
    </dgm:varLst>
    <dgm:choose name="Name1">
      <dgm:if name="Name2" func="var" arg="dir" op="equ" val="norm">
        <dgm:alg type="lin">
          <dgm:param type="fallback" val="2D"/>
          <dgm:param type="nodeVertAlign" val="t"/>
        </dgm:alg>
      </dgm:if>
      <dgm:else name="Name3">
        <dgm:alg type="lin">
          <dgm:param type="fallback" val="2D"/>
          <dgm:param type="nodeVertAlign" val="t"/>
          <dgm:param type="linDir" val="fromR"/>
        </dgm:alg>
      </dgm:else>
    </dgm:choose>
    <dgm:shape xmlns:r="http://schemas.openxmlformats.org/officeDocument/2006/relationships" r:blip="">
      <dgm:adjLst/>
    </dgm:shape>
    <dgm:constrLst>
      <dgm:constr type="userH" refType="h" fact="2"/>
      <dgm:constr type="w" for="ch" forName="chaos" refType="userH" fact="0.681"/>
      <dgm:constr type="h" for="ch" forName="chaos" refType="userH"/>
      <dgm:constr type="w" for="ch" forName="middle" refType="userH" fact="0.6"/>
      <dgm:constr type="h" for="ch" forName="middle" refType="userH"/>
      <dgm:constr type="w" for="ch" forName="last" refType="userH" fact="0.6"/>
      <dgm:constr type="h" for="ch" forName="last" refType="userH"/>
      <dgm:constr type="w" for="ch" forName="chevronComposite1" refType="userH" fact="0.22"/>
      <dgm:constr type="h" for="ch" forName="chevronComposite1" refType="userH" fact="0.52"/>
      <dgm:constr type="w" for="ch" forName="chevronComposite2" refType="userH" fact="0.22"/>
      <dgm:constr type="h" for="ch" forName="chevronComposite2" refType="userH" fact="0.52"/>
      <dgm:constr type="w" for="ch" forName="overlap" refType="userH" fact="-0.04"/>
      <dgm:constr type="h" for="ch" forName="overlap" refType="userH" fact="0.06"/>
      <dgm:constr type="primFontSz" for="des" forName="parTx1" op="equ" val="65"/>
      <dgm:constr type="primFontSz" for="des" forName="parTxMid" refType="primFontSz" refFor="des" refForName="parTx1" op="equ"/>
      <dgm:constr type="primFontSz" for="des" forName="circleTx" refType="primFontSz" refFor="des" refForName="parTx1" op="equ"/>
      <dgm:constr type="primFontSz" for="des" forName="desTx1" op="equ" val="65"/>
      <dgm:constr type="primFontSz" for="des" forName="desTxMid" refType="primFontSz" refFor="des" refForName="desTx1" op="equ"/>
      <dgm:constr type="primFontSz" for="des" forName="desTxN" refType="primFontSz" refFor="des" refForName="desTx1" op="equ"/>
    </dgm:constrLst>
    <dgm:forEach name="Name4" axis="ch" ptType="node">
      <dgm:choose name="Name5">
        <dgm:if name="Name6" axis="self" ptType="node" func="pos" op="equ" val="1">
          <dgm:layoutNode name="chaos">
            <dgm:alg type="composite"/>
            <dgm:shape xmlns:r="http://schemas.openxmlformats.org/officeDocument/2006/relationships" r:blip="">
              <dgm:adjLst/>
            </dgm:shape>
            <dgm:presOf/>
            <dgm:constrLst>
              <dgm:constr type="ctrX" for="ch" forName="parTx1" refType="w" fact="0.5"/>
              <dgm:constr type="t" for="ch" forName="parTx1" refType="w" fact="0.32"/>
              <dgm:constr type="w" for="ch" forName="parTx1" refType="w" fact="0.88"/>
              <dgm:constr type="h" for="ch" forName="parTx1" refType="w" fact="0.29"/>
              <dgm:constr type="ctrX" for="ch" forName="desTx1" refType="w" fact="0.5"/>
              <dgm:constr type="b" for="ch" forName="desTx1" refType="h"/>
              <dgm:constr type="w" for="ch" forName="desTx1" refType="w" fact="0.88"/>
              <dgm:constr type="h" for="ch" forName="desTx1" refType="h" fact="0.37"/>
              <dgm:constr type="l" for="ch" forName="c1" refType="w" fact="0.05"/>
              <dgm:constr type="t" for="ch" forName="c1" refType="w" fact="0.23"/>
              <dgm:constr type="w" for="ch" forName="c1" refType="w" fact="0.07"/>
              <dgm:constr type="h" for="ch" forName="c1" refType="w" refFor="ch" refForName="c1"/>
              <dgm:constr type="l" for="ch" forName="c2" refType="w" fact="0.1"/>
              <dgm:constr type="t" for="ch" forName="c2" refType="w" fact="0.13"/>
              <dgm:constr type="w" for="ch" forName="c2" refType="w" fact="0.07"/>
              <dgm:constr type="h" for="ch" forName="c2" refType="w" refFor="ch" refForName="c2"/>
              <dgm:constr type="l" for="ch" forName="c3" refType="w" fact="0.22"/>
              <dgm:constr type="t" for="ch" forName="c3" refType="w" fact="0.15"/>
              <dgm:constr type="w" for="ch" forName="c3" refType="w" fact="0.11"/>
              <dgm:constr type="h" for="ch" forName="c3" refType="w" refFor="ch" refForName="c3"/>
              <dgm:constr type="l" for="ch" forName="c4" refType="w" fact="0.32"/>
              <dgm:constr type="t" for="ch" forName="c4" refType="w" fact="0.04"/>
              <dgm:constr type="w" for="ch" forName="c4" refType="w" fact="0.07"/>
              <dgm:constr type="h" for="ch" forName="c4" refType="w" refFor="ch" refForName="c4"/>
              <dgm:constr type="l" for="ch" forName="c5" refType="w" fact="0.45"/>
              <dgm:constr type="t" for="ch" forName="c5" refType="w" fact="0"/>
              <dgm:constr type="w" for="ch" forName="c5" refType="w" fact="0.07"/>
              <dgm:constr type="h" for="ch" forName="c5" refType="w" refFor="ch" refForName="c5"/>
              <dgm:constr type="l" for="ch" forName="c6" refType="w" fact="0.61"/>
              <dgm:constr type="t" for="ch" forName="c6" refType="w" fact="0.07"/>
              <dgm:constr type="w" for="ch" forName="c6" refType="w" fact="0.07"/>
              <dgm:constr type="h" for="ch" forName="c6" refType="w" refFor="ch" refForName="c6"/>
              <dgm:constr type="l" for="ch" forName="c7" refType="w" fact="0.71"/>
              <dgm:constr type="t" for="ch" forName="c7" refType="w" fact="0.12"/>
              <dgm:constr type="w" for="ch" forName="c7" refType="w" fact="0.11"/>
              <dgm:constr type="h" for="ch" forName="c7" refType="w" refFor="ch" refForName="c7"/>
              <dgm:constr type="l" for="ch" forName="c8" refType="w" fact="0.85"/>
              <dgm:constr type="t" for="ch" forName="c8" refType="w" fact="0.23"/>
              <dgm:constr type="w" for="ch" forName="c8" refType="w" fact="0.07"/>
              <dgm:constr type="h" for="ch" forName="c8" refType="w" refFor="ch" refForName="c8"/>
              <dgm:constr type="l" for="ch" forName="c9" refType="w" fact="0.91"/>
              <dgm:constr type="t" for="ch" forName="c9" refType="w" fact="0.34"/>
              <dgm:constr type="w" for="ch" forName="c9" refType="w" fact="0.07"/>
              <dgm:constr type="h" for="ch" forName="c9" refType="w" refFor="ch" refForName="c9"/>
              <dgm:constr type="l" for="ch" forName="c10" refType="w" fact="0.39"/>
              <dgm:constr type="t" for="ch" forName="c10" refType="w" fact="0.13"/>
              <dgm:constr type="w" for="ch" forName="c10" refType="w" fact="0.18"/>
              <dgm:constr type="h" for="ch" forName="c10" refType="w" refFor="ch" refForName="c10"/>
              <dgm:constr type="l" for="ch" forName="c11" refType="w" fact="0"/>
              <dgm:constr type="t" for="ch" forName="c11" refType="w" fact="0.51"/>
              <dgm:constr type="w" for="ch" forName="c11" refType="w" fact="0.07"/>
              <dgm:constr type="h" for="ch" forName="c11" refType="w" refFor="ch" refForName="c11"/>
              <dgm:constr type="l" for="ch" forName="c12" refType="w" fact="0.06"/>
              <dgm:constr type="t" for="ch" forName="c12" refType="w" fact="0.6"/>
              <dgm:constr type="w" for="ch" forName="c12" refType="w" fact="0.11"/>
              <dgm:constr type="h" for="ch" forName="c12" refType="w" refFor="ch" refForName="c12"/>
              <dgm:constr type="l" for="ch" forName="c13" refType="w" fact="0.21"/>
              <dgm:constr type="t" for="ch" forName="c13" refType="w" fact="0.68"/>
              <dgm:constr type="w" for="ch" forName="c13" refType="w" fact="0.16"/>
              <dgm:constr type="h" for="ch" forName="c13" refType="w" refFor="ch" refForName="c13"/>
              <dgm:constr type="l" for="ch" forName="c14" refType="w" fact="0.42"/>
              <dgm:constr type="t" for="ch" forName="c14" refType="w" fact="0.81"/>
              <dgm:constr type="w" for="ch" forName="c14" refType="w" fact="0.07"/>
              <dgm:constr type="h" for="ch" forName="c14" refType="w" refFor="ch" refForName="c14"/>
              <dgm:constr type="l" for="ch" forName="c15" refType="w" fact="0.46"/>
              <dgm:constr type="t" for="ch" forName="c15" refType="w" fact="0.68"/>
              <dgm:constr type="w" for="ch" forName="c15" refType="w" fact="0.11"/>
              <dgm:constr type="h" for="ch" forName="c15" refType="w" refFor="ch" refForName="c15"/>
              <dgm:constr type="l" for="ch" forName="c16" refType="w" fact="0.56"/>
              <dgm:constr type="t" for="ch" forName="c16" refType="w" fact="0.82"/>
              <dgm:constr type="w" for="ch" forName="c16" refType="w" fact="0.07"/>
              <dgm:constr type="h" for="ch" forName="c16" refType="w" refFor="ch" refForName="c16"/>
              <dgm:constr type="l" for="ch" forName="c17" refType="w" fact="0.65"/>
              <dgm:constr type="t" for="ch" forName="c17" refType="w" fact="0.66"/>
              <dgm:constr type="w" for="ch" forName="c17" refType="w" fact="0.16"/>
              <dgm:constr type="h" for="ch" forName="c17" refType="w" refFor="ch" refForName="c17"/>
              <dgm:constr type="l" for="ch" forName="c18" refType="w" fact="0.87"/>
              <dgm:constr type="t" for="ch" forName="c18" refType="w" fact="0.62"/>
              <dgm:constr type="w" for="ch" forName="c18" refType="w" fact="0.11"/>
              <dgm:constr type="h" for="ch" forName="c18" refType="w" refFor="ch" refForName="c18"/>
            </dgm:constrLst>
            <dgm:layoutNode name="parTx1" styleLbl="revTx">
              <dgm:alg type="tx"/>
              <dgm:shape xmlns:r="http://schemas.openxmlformats.org/officeDocument/2006/relationships" type="rect"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7">
              <dgm:if name="Name8" axis="ch" ptType="node" func="cnt" op="gte" val="1">
                <dgm:layoutNode name="desTx1" styleLbl="revTx">
                  <dgm:varLst>
                    <dgm:bulletEnabled val="1"/>
                  </dgm:varLst>
                  <dgm:choose name="Name9">
                    <dgm:if name="Name10" axis="ch" ptType="node" func="cnt" op="equ" val="1">
                      <dgm:alg type="tx">
                        <dgm:param type="shpTxLTRAlignCh" val="l"/>
                      </dgm:alg>
                    </dgm:if>
                    <dgm:else name="Name11">
                      <dgm:alg type="tx">
                        <dgm:param type="shpTxLTRAlignCh" val="l"/>
                        <dgm:param type="stBulletLvl" val="1"/>
                      </dgm:alg>
                    </dgm:else>
                  </dgm:choose>
                  <dgm:shape xmlns:r="http://schemas.openxmlformats.org/officeDocument/2006/relationships" type="rect" r:blip="">
                    <dgm:adjLst/>
                  </dgm:shape>
                  <dgm:presOf axis="des"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if>
              <dgm:else name="Name12"/>
            </dgm:choose>
            <dgm:layoutNode name="c1" styleLbl="node1">
              <dgm:alg type="sp"/>
              <dgm:shape xmlns:r="http://schemas.openxmlformats.org/officeDocument/2006/relationships" type="ellipse" r:blip="">
                <dgm:adjLst/>
              </dgm:shape>
              <dgm:presOf/>
            </dgm:layoutNode>
            <dgm:layoutNode name="c2" styleLbl="node1">
              <dgm:alg type="sp"/>
              <dgm:shape xmlns:r="http://schemas.openxmlformats.org/officeDocument/2006/relationships" type="ellipse" r:blip="">
                <dgm:adjLst/>
              </dgm:shape>
              <dgm:presOf/>
            </dgm:layoutNode>
            <dgm:layoutNode name="c3" styleLbl="node1">
              <dgm:alg type="sp"/>
              <dgm:shape xmlns:r="http://schemas.openxmlformats.org/officeDocument/2006/relationships" type="ellipse" r:blip="">
                <dgm:adjLst/>
              </dgm:shape>
              <dgm:presOf/>
            </dgm:layoutNode>
            <dgm:layoutNode name="c4" styleLbl="node1">
              <dgm:alg type="sp"/>
              <dgm:shape xmlns:r="http://schemas.openxmlformats.org/officeDocument/2006/relationships" type="ellipse" r:blip="">
                <dgm:adjLst/>
              </dgm:shape>
              <dgm:presOf/>
            </dgm:layoutNode>
            <dgm:layoutNode name="c5" styleLbl="node1">
              <dgm:alg type="sp"/>
              <dgm:shape xmlns:r="http://schemas.openxmlformats.org/officeDocument/2006/relationships" type="ellipse" r:blip="">
                <dgm:adjLst/>
              </dgm:shape>
              <dgm:presOf/>
            </dgm:layoutNode>
            <dgm:layoutNode name="c6" styleLbl="node1">
              <dgm:alg type="sp"/>
              <dgm:shape xmlns:r="http://schemas.openxmlformats.org/officeDocument/2006/relationships" type="ellipse" r:blip="">
                <dgm:adjLst/>
              </dgm:shape>
              <dgm:presOf/>
            </dgm:layoutNode>
            <dgm:layoutNode name="c7" styleLbl="node1">
              <dgm:alg type="sp"/>
              <dgm:shape xmlns:r="http://schemas.openxmlformats.org/officeDocument/2006/relationships" type="ellipse" r:blip="">
                <dgm:adjLst/>
              </dgm:shape>
              <dgm:presOf/>
            </dgm:layoutNode>
            <dgm:layoutNode name="c8" styleLbl="node1">
              <dgm:alg type="sp"/>
              <dgm:shape xmlns:r="http://schemas.openxmlformats.org/officeDocument/2006/relationships" type="ellipse" r:blip="">
                <dgm:adjLst/>
              </dgm:shape>
              <dgm:presOf/>
            </dgm:layoutNode>
            <dgm:layoutNode name="c9" styleLbl="node1">
              <dgm:alg type="sp"/>
              <dgm:shape xmlns:r="http://schemas.openxmlformats.org/officeDocument/2006/relationships" type="ellipse" r:blip="">
                <dgm:adjLst/>
              </dgm:shape>
              <dgm:presOf/>
            </dgm:layoutNode>
            <dgm:layoutNode name="c10" styleLbl="node1">
              <dgm:alg type="sp"/>
              <dgm:shape xmlns:r="http://schemas.openxmlformats.org/officeDocument/2006/relationships" type="ellipse" r:blip="">
                <dgm:adjLst/>
              </dgm:shape>
              <dgm:presOf/>
            </dgm:layoutNode>
            <dgm:layoutNode name="c11" styleLbl="node1">
              <dgm:alg type="sp"/>
              <dgm:shape xmlns:r="http://schemas.openxmlformats.org/officeDocument/2006/relationships" type="ellipse" r:blip="">
                <dgm:adjLst/>
              </dgm:shape>
              <dgm:presOf/>
            </dgm:layoutNode>
            <dgm:layoutNode name="c12" styleLbl="node1">
              <dgm:alg type="sp"/>
              <dgm:shape xmlns:r="http://schemas.openxmlformats.org/officeDocument/2006/relationships" type="ellipse" r:blip="">
                <dgm:adjLst/>
              </dgm:shape>
              <dgm:presOf/>
            </dgm:layoutNode>
            <dgm:layoutNode name="c13" styleLbl="node1">
              <dgm:alg type="sp"/>
              <dgm:shape xmlns:r="http://schemas.openxmlformats.org/officeDocument/2006/relationships" type="ellipse" r:blip="">
                <dgm:adjLst/>
              </dgm:shape>
              <dgm:presOf/>
            </dgm:layoutNode>
            <dgm:layoutNode name="c14" styleLbl="node1">
              <dgm:alg type="sp"/>
              <dgm:shape xmlns:r="http://schemas.openxmlformats.org/officeDocument/2006/relationships" type="ellipse" r:blip="">
                <dgm:adjLst/>
              </dgm:shape>
              <dgm:presOf/>
            </dgm:layoutNode>
            <dgm:layoutNode name="c15" styleLbl="node1">
              <dgm:alg type="sp"/>
              <dgm:shape xmlns:r="http://schemas.openxmlformats.org/officeDocument/2006/relationships" type="ellipse" r:blip="">
                <dgm:adjLst/>
              </dgm:shape>
              <dgm:presOf/>
            </dgm:layoutNode>
            <dgm:layoutNode name="c16" styleLbl="node1">
              <dgm:alg type="sp"/>
              <dgm:shape xmlns:r="http://schemas.openxmlformats.org/officeDocument/2006/relationships" type="ellipse" r:blip="">
                <dgm:adjLst/>
              </dgm:shape>
              <dgm:presOf/>
            </dgm:layoutNode>
            <dgm:layoutNode name="c17" styleLbl="node1">
              <dgm:alg type="sp"/>
              <dgm:shape xmlns:r="http://schemas.openxmlformats.org/officeDocument/2006/relationships" type="ellipse" r:blip="">
                <dgm:adjLst/>
              </dgm:shape>
              <dgm:presOf/>
            </dgm:layoutNode>
            <dgm:layoutNode name="c18" styleLbl="node1">
              <dgm:alg type="sp"/>
              <dgm:shape xmlns:r="http://schemas.openxmlformats.org/officeDocument/2006/relationships" type="ellipse" r:blip="">
                <dgm:adjLst/>
              </dgm:shape>
              <dgm:presOf/>
            </dgm:layoutNode>
          </dgm:layoutNode>
        </dgm:if>
        <dgm:if name="Name13" axis="self" ptType="node" func="revPos" op="equ" val="1">
          <dgm:layoutNode name="last">
            <dgm:alg type="composite"/>
            <dgm:shape xmlns:r="http://schemas.openxmlformats.org/officeDocument/2006/relationships" r:blip="">
              <dgm:adjLst/>
            </dgm:shape>
            <dgm:presOf/>
            <dgm:constrLst>
              <dgm:constr type="ctrX" for="ch" forName="circleTx" refType="w" fact="0.5"/>
              <dgm:constr type="t" for="ch" forName="circleTx" refType="w" fact="0.117"/>
              <dgm:constr type="w" for="ch" forName="circleTx" refType="h" refFor="ch" refForName="circleTx"/>
              <dgm:constr type="h" for="ch" forName="circleTx" refType="w" fact="0.85"/>
              <dgm:constr type="l" for="ch" forName="desTxN"/>
              <dgm:constr type="b" for="ch" forName="desTxN" refType="h"/>
              <dgm:constr type="w" for="ch" forName="desTxN" refType="w"/>
              <dgm:constr type="h" for="ch" forName="desTxN" refType="h" fact="0.37"/>
              <dgm:constr type="ctrX" for="ch" forName="spN" refType="w" fact="0.5"/>
              <dgm:constr type="t" for="ch" forName="spN"/>
              <dgm:constr type="w" for="ch" forName="spN" refType="w" fact="0.93"/>
              <dgm:constr type="h" for="ch" forName="spN" refType="h" fact="0.01"/>
            </dgm:constrLst>
            <dgm:layoutNode name="circleTx" styleLbl="node1">
              <dgm:alg type="tx"/>
              <dgm:shape xmlns:r="http://schemas.openxmlformats.org/officeDocument/2006/relationships" type="ellipse" r:blip="">
                <dgm:adjLst/>
              </dgm:shape>
              <dgm:presOf axis="self" ptType="node"/>
              <dgm:constrLst>
                <dgm:constr type="lMarg"/>
                <dgm:constr type="rMarg"/>
                <dgm:constr type="tMarg"/>
                <dgm:constr type="bMarg"/>
              </dgm:constrLst>
              <dgm:ruleLst>
                <dgm:rule type="primFontSz" val="5" fact="NaN" max="NaN"/>
              </dgm:ruleLst>
            </dgm:layoutNode>
            <dgm:choose name="Name14">
              <dgm:if name="Name15" axis="ch" ptType="node" func="cnt" op="gte" val="1">
                <dgm:layoutNode name="desTxN" styleLbl="revTx">
                  <dgm:varLst>
                    <dgm:bulletEnabled val="1"/>
                  </dgm:varLst>
                  <dgm:choose name="Name16">
                    <dgm:if name="Name17" axis="ch" ptType="node" func="cnt" op="equ" val="1">
                      <dgm:alg type="tx">
                        <dgm:param type="shpTxLTRAlignCh" val="l"/>
                      </dgm:alg>
                    </dgm:if>
                    <dgm:else name="Name18">
                      <dgm:alg type="tx">
                        <dgm:param type="shpTxLTRAlignCh" val="l"/>
                        <dgm:param type="stBulletLvl" val="1"/>
                      </dgm:alg>
                    </dgm:else>
                  </dgm:choose>
                  <dgm:shape xmlns:r="http://schemas.openxmlformats.org/officeDocument/2006/relationships" type="rect" r:blip="">
                    <dgm:adjLst/>
                  </dgm:shape>
                  <dgm:presOf axis="des"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if>
              <dgm:else name="Name19"/>
            </dgm:choose>
            <dgm:layoutNode name="spN">
              <dgm:alg type="sp"/>
              <dgm:shape xmlns:r="http://schemas.openxmlformats.org/officeDocument/2006/relationships" r:blip="">
                <dgm:adjLst/>
              </dgm:shape>
              <dgm:presOf/>
            </dgm:layoutNode>
          </dgm:layoutNode>
        </dgm:if>
        <dgm:else name="Name20">
          <dgm:layoutNode name="middle">
            <dgm:alg type="composite"/>
            <dgm:shape xmlns:r="http://schemas.openxmlformats.org/officeDocument/2006/relationships" r:blip="">
              <dgm:adjLst/>
            </dgm:shape>
            <dgm:presOf/>
            <dgm:constrLst>
              <dgm:constr type="l" for="ch" forName="parTxMid"/>
              <dgm:constr type="t" for="ch" forName="parTxMid" refType="w" fact="0.167"/>
              <dgm:constr type="w" for="ch" forName="parTxMid" refType="w"/>
              <dgm:constr type="h" for="ch" forName="parTxMid" refType="w" fact="0.7"/>
              <dgm:constr type="l" for="ch" forName="desTxMid"/>
              <dgm:constr type="b" for="ch" forName="desTxMid" refType="h"/>
              <dgm:constr type="w" for="ch" forName="desTxMid" refType="w"/>
              <dgm:constr type="h" for="ch" forName="desTxMid" refType="h" fact="0.37"/>
              <dgm:constr type="ctrX" for="ch" forName="spMid" refType="w" fact="0.5"/>
              <dgm:constr type="t" for="ch" forName="spMid"/>
              <dgm:constr type="w" for="ch" forName="spMid" refType="w" fact="0.01"/>
              <dgm:constr type="h" for="ch" forName="spMid" refType="h" fact="0.01"/>
            </dgm:constrLst>
            <dgm:layoutNode name="parTxMid" styleLbl="revTx">
              <dgm:alg type="tx"/>
              <dgm:shape xmlns:r="http://schemas.openxmlformats.org/officeDocument/2006/relationships" type="rect"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21">
              <dgm:if name="Name22" axis="ch" ptType="node" func="cnt" op="gte" val="1">
                <dgm:layoutNode name="desTxMid" styleLbl="revTx">
                  <dgm:varLst>
                    <dgm:bulletEnabled val="1"/>
                  </dgm:varLst>
                  <dgm:choose name="Name23">
                    <dgm:if name="Name24" axis="ch" ptType="node" func="cnt" op="equ" val="1">
                      <dgm:alg type="tx">
                        <dgm:param type="shpTxLTRAlignCh" val="l"/>
                      </dgm:alg>
                    </dgm:if>
                    <dgm:else name="Name25">
                      <dgm:alg type="tx">
                        <dgm:param type="shpTxLTRAlignCh" val="l"/>
                        <dgm:param type="stBulletLvl" val="1"/>
                      </dgm:alg>
                    </dgm:else>
                  </dgm:choose>
                  <dgm:shape xmlns:r="http://schemas.openxmlformats.org/officeDocument/2006/relationships" type="rect" r:blip="">
                    <dgm:adjLst/>
                  </dgm:shape>
                  <dgm:presOf axis="des"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if>
              <dgm:else name="Name26"/>
            </dgm:choose>
            <dgm:layoutNode name="spMid">
              <dgm:alg type="sp"/>
              <dgm:shape xmlns:r="http://schemas.openxmlformats.org/officeDocument/2006/relationships" r:blip="">
                <dgm:adjLst/>
              </dgm:shape>
              <dgm:presOf/>
            </dgm:layoutNode>
          </dgm:layoutNode>
        </dgm:else>
      </dgm:choose>
      <dgm:forEach name="Name27" axis="followSib" ptType="sibTrans" cnt="1">
        <dgm:layoutNode name="chevronComposite1" styleLbl="alignImgPlace1">
          <dgm:alg type="composite"/>
          <dgm:shape xmlns:r="http://schemas.openxmlformats.org/officeDocument/2006/relationships" r:blip="">
            <dgm:adjLst/>
          </dgm:shape>
          <dgm:presOf/>
          <dgm:constrLst>
            <dgm:constr type="l" for="ch" forName="chevron1"/>
            <dgm:constr type="t" for="ch" forName="chevron1" refType="h" fact="0.1923"/>
            <dgm:constr type="w" for="ch" forName="chevron1" refType="w"/>
            <dgm:constr type="b" for="ch" forName="chevron1" refType="h"/>
            <dgm:constr type="l" for="ch" forName="spChevron1"/>
            <dgm:constr type="t" for="ch" forName="spChevron1"/>
            <dgm:constr type="w" for="ch" forName="spChevron1" refType="w" fact="0.01"/>
            <dgm:constr type="h" for="ch" forName="spChevron1" refType="h" fact="0.01"/>
          </dgm:constrLst>
          <dgm:layoutNode name="chevron1">
            <dgm:alg type="sp"/>
            <dgm:choose name="Name28">
              <dgm:if name="Name29" func="var" arg="dir" op="equ" val="norm">
                <dgm:shape xmlns:r="http://schemas.openxmlformats.org/officeDocument/2006/relationships" type="chevron" r:blip="">
                  <dgm:adjLst>
                    <dgm:adj idx="1" val="0.6231"/>
                  </dgm:adjLst>
                </dgm:shape>
              </dgm:if>
              <dgm:else name="Name30">
                <dgm:shape xmlns:r="http://schemas.openxmlformats.org/officeDocument/2006/relationships" rot="180" type="chevron" r:blip="">
                  <dgm:adjLst>
                    <dgm:adj idx="1" val="0.6231"/>
                  </dgm:adjLst>
                </dgm:shape>
              </dgm:else>
            </dgm:choose>
            <dgm:presOf/>
          </dgm:layoutNode>
          <dgm:layoutNode name="spChevron1">
            <dgm:alg type="sp"/>
            <dgm:shape xmlns:r="http://schemas.openxmlformats.org/officeDocument/2006/relationships" r:blip="">
              <dgm:adjLst/>
            </dgm:shape>
            <dgm:presOf/>
          </dgm:layoutNode>
        </dgm:layoutNode>
        <dgm:choose name="Name31">
          <dgm:if name="Name32" axis="root ch" ptType="all node" func="cnt" op="equ" val="2">
            <dgm:layoutNode name="overlap">
              <dgm:alg type="sp"/>
              <dgm:shape xmlns:r="http://schemas.openxmlformats.org/officeDocument/2006/relationships" r:blip="">
                <dgm:adjLst/>
              </dgm:shape>
              <dgm:presOf/>
            </dgm:layoutNode>
            <dgm:layoutNode name="chevronComposite2" styleLbl="alignImgPlace1">
              <dgm:alg type="composite"/>
              <dgm:shape xmlns:r="http://schemas.openxmlformats.org/officeDocument/2006/relationships" r:blip="">
                <dgm:adjLst/>
              </dgm:shape>
              <dgm:presOf/>
              <dgm:constrLst>
                <dgm:constr type="l" for="ch" forName="chevron2"/>
                <dgm:constr type="t" for="ch" forName="chevron2" refType="h" fact="0.1923"/>
                <dgm:constr type="w" for="ch" forName="chevron2" refType="w"/>
                <dgm:constr type="b" for="ch" forName="chevron2" refType="h"/>
                <dgm:constr type="l" for="ch" forName="spChevron2"/>
                <dgm:constr type="t" for="ch" forName="spChevron2"/>
                <dgm:constr type="w" for="ch" forName="spChevron2" refType="w" fact="0.01"/>
                <dgm:constr type="h" for="ch" forName="spChevron2" refType="h" fact="0.01"/>
              </dgm:constrLst>
              <dgm:layoutNode name="chevron2">
                <dgm:alg type="sp"/>
                <dgm:choose name="Name33">
                  <dgm:if name="Name34" func="var" arg="dir" op="equ" val="norm">
                    <dgm:shape xmlns:r="http://schemas.openxmlformats.org/officeDocument/2006/relationships" type="chevron" r:blip="">
                      <dgm:adjLst>
                        <dgm:adj idx="1" val="0.6231"/>
                      </dgm:adjLst>
                    </dgm:shape>
                  </dgm:if>
                  <dgm:else name="Name35">
                    <dgm:shape xmlns:r="http://schemas.openxmlformats.org/officeDocument/2006/relationships" rot="180" type="chevron" r:blip="">
                      <dgm:adjLst>
                        <dgm:adj idx="1" val="0.6231"/>
                      </dgm:adjLst>
                    </dgm:shape>
                  </dgm:else>
                </dgm:choose>
                <dgm:presOf/>
              </dgm:layoutNode>
              <dgm:layoutNode name="spChevron2">
                <dgm:alg type="sp"/>
                <dgm:shape xmlns:r="http://schemas.openxmlformats.org/officeDocument/2006/relationships" r:blip="">
                  <dgm:adjLst/>
                </dgm:shape>
                <dgm:presOf/>
              </dgm:layoutNode>
            </dgm:layoutNode>
          </dgm:if>
          <dgm:else name="Name36"/>
        </dgm:choos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 name="IFXSHAPE"/>
          <p:cNvSpPr>
            <a:spLocks noGrp="1" noChangeArrowheads="1"/>
          </p:cNvSpPr>
          <p:nvPr>
            <p:ph type="hdr" sz="quarter"/>
          </p:nvPr>
        </p:nvSpPr>
        <p:spPr bwMode="auto">
          <a:xfrm>
            <a:off x="453306" y="296863"/>
            <a:ext cx="4422857" cy="41772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defTabSz="955819">
              <a:defRPr sz="1200">
                <a:latin typeface="Tahoma" pitchFamily="34" charset="0"/>
              </a:defRPr>
            </a:lvl1pPr>
          </a:lstStyle>
          <a:p>
            <a:endParaRPr lang="en-US" dirty="0">
              <a:solidFill>
                <a:srgbClr val="00214A"/>
              </a:solidFill>
              <a:latin typeface="Arial" panose="020B0604020202020204" pitchFamily="34" charset="0"/>
              <a:cs typeface="Arial" panose="020B0604020202020204" pitchFamily="34" charset="0"/>
            </a:endParaRPr>
          </a:p>
        </p:txBody>
      </p:sp>
      <p:pic>
        <p:nvPicPr>
          <p:cNvPr id="26" name="IFXSHAPE"/>
          <p:cNvPicPr>
            <a:picLocks noChangeAspect="1" noChangeArrowheads="1"/>
          </p:cNvPicPr>
          <p:nvPr/>
        </p:nvPicPr>
        <p:blipFill>
          <a:blip r:embed="rId2" cstate="print"/>
          <a:srcRect/>
          <a:stretch>
            <a:fillRect/>
          </a:stretch>
        </p:blipFill>
        <p:spPr bwMode="auto">
          <a:xfrm>
            <a:off x="5657072" y="295163"/>
            <a:ext cx="880886" cy="419422"/>
          </a:xfrm>
          <a:prstGeom prst="rect">
            <a:avLst/>
          </a:prstGeom>
          <a:noFill/>
          <a:ln w="9525">
            <a:noFill/>
            <a:miter lim="800000"/>
            <a:headEnd/>
            <a:tailEnd/>
          </a:ln>
          <a:effectLst/>
        </p:spPr>
      </p:pic>
      <p:sp>
        <p:nvSpPr>
          <p:cNvPr id="7" name="IFXSHAPE"/>
          <p:cNvSpPr>
            <a:spLocks noGrp="1"/>
          </p:cNvSpPr>
          <p:nvPr>
            <p:ph type="ftr" sz="quarter" idx="2"/>
          </p:nvPr>
        </p:nvSpPr>
        <p:spPr>
          <a:xfrm>
            <a:off x="1317625" y="9941842"/>
            <a:ext cx="4824413" cy="179611"/>
          </a:xfrm>
          <a:prstGeom prst="rect">
            <a:avLst/>
          </a:prstGeom>
        </p:spPr>
        <p:txBody>
          <a:bodyPr vert="horz" lIns="91440" tIns="45720" rIns="91440" bIns="45720" rtlCol="0" anchor="ctr"/>
          <a:lstStyle>
            <a:lvl1pPr algn="l">
              <a:defRPr sz="1200"/>
            </a:lvl1pPr>
          </a:lstStyle>
          <a:p>
            <a:pPr algn="ctr"/>
            <a:r>
              <a:rPr lang="en-GB" sz="800">
                <a:latin typeface="Arial" panose="020B0604020202020204" pitchFamily="34" charset="0"/>
                <a:ea typeface="Verdana" pitchFamily="34" charset="0"/>
                <a:cs typeface="Arial" panose="020B0604020202020204" pitchFamily="34" charset="0"/>
              </a:rPr>
              <a:t>Copyright © Infineon Technologies AG 2022. All rights reserved.</a:t>
            </a:r>
          </a:p>
          <a:p>
            <a:pPr algn="ctr"/>
            <a:r>
              <a:rPr lang="en-GB" sz="800" b="1">
                <a:latin typeface="Arial" panose="020B0604020202020204" pitchFamily="34" charset="0"/>
                <a:ea typeface="Verdana" pitchFamily="34" charset="0"/>
                <a:cs typeface="Arial" panose="020B0604020202020204" pitchFamily="34" charset="0"/>
              </a:rPr>
              <a:t>restricted</a:t>
            </a:r>
            <a:endParaRPr lang="en-US" sz="800" b="1" dirty="0">
              <a:solidFill>
                <a:srgbClr val="E30034"/>
              </a:solidFill>
              <a:latin typeface="Arial" panose="020B0604020202020204" pitchFamily="34" charset="0"/>
              <a:ea typeface="Verdana" pitchFamily="34" charset="0"/>
              <a:cs typeface="Arial" panose="020B0604020202020204" pitchFamily="34" charset="0"/>
            </a:endParaRPr>
          </a:p>
        </p:txBody>
      </p:sp>
      <p:sp>
        <p:nvSpPr>
          <p:cNvPr id="9" name="IFXSHAPE"/>
          <p:cNvSpPr>
            <a:spLocks noGrp="1"/>
          </p:cNvSpPr>
          <p:nvPr>
            <p:ph type="dt" sz="quarter" idx="1"/>
          </p:nvPr>
        </p:nvSpPr>
        <p:spPr>
          <a:xfrm>
            <a:off x="453306" y="9941842"/>
            <a:ext cx="864319" cy="179611"/>
          </a:xfrm>
          <a:prstGeom prst="rect">
            <a:avLst/>
          </a:prstGeom>
        </p:spPr>
        <p:txBody>
          <a:bodyPr vert="horz" lIns="91440" tIns="45720" rIns="91440" bIns="45720" rtlCol="0" anchor="ctr"/>
          <a:lstStyle>
            <a:lvl1pPr algn="r">
              <a:defRPr sz="1200"/>
            </a:lvl1pPr>
          </a:lstStyle>
          <a:p>
            <a:pPr algn="l"/>
            <a:r>
              <a:rPr lang="en-US" sz="800">
                <a:latin typeface="Arial" panose="020B0604020202020204" pitchFamily="34" charset="0"/>
                <a:ea typeface="Verdana" pitchFamily="34" charset="0"/>
                <a:cs typeface="Arial" panose="020B0604020202020204" pitchFamily="34" charset="0"/>
              </a:rPr>
              <a:t>2022-07-19</a:t>
            </a:r>
          </a:p>
          <a:p>
            <a:pPr algn="l"/>
            <a:endParaRPr lang="en-US" sz="800">
              <a:latin typeface="Arial" panose="020B0604020202020204" pitchFamily="34" charset="0"/>
              <a:ea typeface="Verdana" pitchFamily="34" charset="0"/>
              <a:cs typeface="Arial" panose="020B0604020202020204" pitchFamily="34" charset="0"/>
            </a:endParaRPr>
          </a:p>
        </p:txBody>
      </p:sp>
      <p:sp>
        <p:nvSpPr>
          <p:cNvPr id="10" name="IFXSHAPE"/>
          <p:cNvSpPr>
            <a:spLocks noGrp="1"/>
          </p:cNvSpPr>
          <p:nvPr>
            <p:ph type="sldNum" sz="quarter" idx="3"/>
          </p:nvPr>
        </p:nvSpPr>
        <p:spPr>
          <a:xfrm>
            <a:off x="6142038" y="9941842"/>
            <a:ext cx="448737" cy="179611"/>
          </a:xfrm>
          <a:prstGeom prst="rect">
            <a:avLst/>
          </a:prstGeom>
        </p:spPr>
        <p:txBody>
          <a:bodyPr vert="horz" lIns="91440" tIns="45720" rIns="91440" bIns="45720" rtlCol="0" anchor="ctr"/>
          <a:lstStyle>
            <a:lvl1pPr algn="r">
              <a:defRPr sz="1200"/>
            </a:lvl1pPr>
          </a:lstStyle>
          <a:p>
            <a:fld id="{4F5EA4BF-E9AE-43AF-B3B0-E8B2B4D213BF}" type="slidenum">
              <a:rPr lang="en-US" sz="800" smtClean="0">
                <a:latin typeface="Arial" panose="020B0604020202020204" pitchFamily="34" charset="0"/>
                <a:ea typeface="Verdana" pitchFamily="34" charset="0"/>
                <a:cs typeface="Arial" panose="020B0604020202020204" pitchFamily="34" charset="0"/>
              </a:rPr>
              <a:t>‹#›</a:t>
            </a:fld>
            <a:endParaRPr lang="en-US" sz="800">
              <a:latin typeface="Arial" panose="020B0604020202020204" pitchFamily="34" charset="0"/>
              <a:ea typeface="Verdana" pitchFamily="34" charset="0"/>
              <a:cs typeface="Arial" panose="020B0604020202020204" pitchFamily="34" charset="0"/>
            </a:endParaRPr>
          </a:p>
          <a:p>
            <a:endParaRPr lang="en-US" sz="800">
              <a:latin typeface="Arial" panose="020B0604020202020204" pitchFamily="34" charset="0"/>
              <a:ea typeface="Verdana" pitchFamily="34" charset="0"/>
              <a:cs typeface="Arial" panose="020B0604020202020204" pitchFamily="34" charset="0"/>
            </a:endParaRPr>
          </a:p>
        </p:txBody>
      </p:sp>
    </p:spTree>
    <p:extLst>
      <p:ext uri="{BB962C8B-B14F-4D97-AF65-F5344CB8AC3E}">
        <p14:creationId xmlns:p14="http://schemas.microsoft.com/office/powerpoint/2010/main" val="3594286928"/>
      </p:ext>
    </p:extLst>
  </p:cSld>
  <p:clrMap bg1="lt1" tx1="dk1" bg2="lt2" tx2="dk2" accent1="accent1" accent2="accent2" accent3="accent3" accent4="accent4" accent5="accent5" accent6="accent6" hlink="hlink" folHlink="folHlink"/>
  <p:hf/>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7-28T01:28:09.350"/>
    </inkml:context>
    <inkml:brush xml:id="br0">
      <inkml:brushProperty name="width" value="0.05" units="cm"/>
      <inkml:brushProperty name="height" value="0.05" units="cm"/>
      <inkml:brushProperty name="color" value="#E30034"/>
    </inkml:brush>
  </inkml:definitions>
  <inkml:trace contextRef="#ctx0" brushRef="#br0">1 116 712 0 0,'0'0'824'0'0,"0"0"-146"0"0,10-13 1336 0 0,4-32-1000 0 0,-14 41-983 0 0,6-13-171 0 0,8-16-2157 0 0,-13 30 1621 0 0</inkml:trace>
</inkml:ink>
</file>

<file path=ppt/notesMasters/_rels/notesMaster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4996" name="IFXSHAPE"/>
          <p:cNvSpPr>
            <a:spLocks noGrp="1" noRot="1" noChangeAspect="1" noChangeArrowheads="1" noTextEdit="1"/>
          </p:cNvSpPr>
          <p:nvPr>
            <p:ph type="sldImg" idx="2"/>
          </p:nvPr>
        </p:nvSpPr>
        <p:spPr bwMode="auto">
          <a:xfrm>
            <a:off x="453306" y="1012825"/>
            <a:ext cx="6191968" cy="3482983"/>
          </a:xfrm>
          <a:prstGeom prst="rect">
            <a:avLst/>
          </a:prstGeom>
          <a:noFill/>
          <a:ln w="9525">
            <a:solidFill>
              <a:srgbClr val="000000"/>
            </a:solidFill>
            <a:miter lim="800000"/>
            <a:headEnd/>
            <a:tailEnd/>
          </a:ln>
          <a:effectLst/>
        </p:spPr>
      </p:sp>
      <p:sp>
        <p:nvSpPr>
          <p:cNvPr id="84997" name="IFXSHAPE"/>
          <p:cNvSpPr>
            <a:spLocks noGrp="1" noChangeArrowheads="1"/>
          </p:cNvSpPr>
          <p:nvPr>
            <p:ph type="body" sz="quarter" idx="3"/>
          </p:nvPr>
        </p:nvSpPr>
        <p:spPr bwMode="auto">
          <a:xfrm>
            <a:off x="453306" y="4757266"/>
            <a:ext cx="6191968" cy="478323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dirty="0"/>
              <a:t>Enter Notes</a:t>
            </a:r>
          </a:p>
        </p:txBody>
      </p:sp>
      <p:sp>
        <p:nvSpPr>
          <p:cNvPr id="28" name="IFXSHAPE"/>
          <p:cNvSpPr>
            <a:spLocks noGrp="1" noChangeArrowheads="1"/>
          </p:cNvSpPr>
          <p:nvPr>
            <p:ph type="hdr" sz="quarter"/>
          </p:nvPr>
        </p:nvSpPr>
        <p:spPr bwMode="auto">
          <a:xfrm>
            <a:off x="454025" y="295163"/>
            <a:ext cx="4422857" cy="41942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defTabSz="955819">
              <a:defRPr sz="1200">
                <a:solidFill>
                  <a:schemeClr val="tx1"/>
                </a:solidFill>
                <a:latin typeface="Arial" panose="020B0604020202020204" pitchFamily="34" charset="0"/>
                <a:cs typeface="Arial" panose="020B0604020202020204" pitchFamily="34" charset="0"/>
              </a:defRPr>
            </a:lvl1pPr>
          </a:lstStyle>
          <a:p>
            <a:endParaRPr lang="en-US" dirty="0"/>
          </a:p>
        </p:txBody>
      </p:sp>
      <p:pic>
        <p:nvPicPr>
          <p:cNvPr id="32" name="IFXSHAPE"/>
          <p:cNvPicPr>
            <a:picLocks noChangeAspect="1" noChangeArrowheads="1"/>
          </p:cNvPicPr>
          <p:nvPr/>
        </p:nvPicPr>
        <p:blipFill>
          <a:blip r:embed="rId2" cstate="print"/>
          <a:srcRect/>
          <a:stretch>
            <a:fillRect/>
          </a:stretch>
        </p:blipFill>
        <p:spPr bwMode="auto">
          <a:xfrm>
            <a:off x="5657072" y="295163"/>
            <a:ext cx="880886" cy="419422"/>
          </a:xfrm>
          <a:prstGeom prst="rect">
            <a:avLst/>
          </a:prstGeom>
          <a:noFill/>
          <a:ln w="9525">
            <a:noFill/>
            <a:miter lim="800000"/>
            <a:headEnd/>
            <a:tailEnd/>
          </a:ln>
          <a:effectLst/>
        </p:spPr>
      </p:pic>
      <p:sp>
        <p:nvSpPr>
          <p:cNvPr id="10" name="IFXSHAPE"/>
          <p:cNvSpPr>
            <a:spLocks noGrp="1"/>
          </p:cNvSpPr>
          <p:nvPr>
            <p:ph type="ftr" sz="quarter" idx="4"/>
          </p:nvPr>
        </p:nvSpPr>
        <p:spPr>
          <a:xfrm>
            <a:off x="1317625" y="9940925"/>
            <a:ext cx="4824411" cy="144933"/>
          </a:xfrm>
          <a:prstGeom prst="rect">
            <a:avLst/>
          </a:prstGeom>
        </p:spPr>
        <p:txBody>
          <a:bodyPr vert="horz" lIns="91440" tIns="45720" rIns="91440" bIns="45720" rtlCol="0" anchor="ctr"/>
          <a:lstStyle>
            <a:lvl1pPr algn="ctr">
              <a:defRPr sz="800">
                <a:latin typeface="Verdana" pitchFamily="34" charset="0"/>
                <a:ea typeface="Verdana" pitchFamily="34" charset="0"/>
                <a:cs typeface="Verdana" pitchFamily="34" charset="0"/>
              </a:defRPr>
            </a:lvl1pPr>
          </a:lstStyle>
          <a:p>
            <a:r>
              <a:rPr lang="en-GB">
                <a:latin typeface="Arial" panose="020B0604020202020204" pitchFamily="34" charset="0"/>
                <a:cs typeface="Arial" panose="020B0604020202020204" pitchFamily="34" charset="0"/>
              </a:rPr>
              <a:t>Copyright © Infineon Technologies AG 2022. All rights reserved.</a:t>
            </a:r>
          </a:p>
          <a:p>
            <a:r>
              <a:rPr lang="en-GB" b="1">
                <a:latin typeface="Arial" panose="020B0604020202020204" pitchFamily="34" charset="0"/>
                <a:cs typeface="Arial" panose="020B0604020202020204" pitchFamily="34" charset="0"/>
              </a:rPr>
              <a:t>restricted</a:t>
            </a:r>
            <a:endParaRPr lang="en-US" b="1" dirty="0">
              <a:solidFill>
                <a:srgbClr val="E30034"/>
              </a:solidFill>
              <a:latin typeface="Arial" panose="020B0604020202020204" pitchFamily="34" charset="0"/>
              <a:cs typeface="Arial" panose="020B0604020202020204" pitchFamily="34" charset="0"/>
            </a:endParaRPr>
          </a:p>
        </p:txBody>
      </p:sp>
      <p:sp>
        <p:nvSpPr>
          <p:cNvPr id="11" name="IFXSHAPE"/>
          <p:cNvSpPr>
            <a:spLocks noGrp="1"/>
          </p:cNvSpPr>
          <p:nvPr>
            <p:ph type="dt" idx="1"/>
          </p:nvPr>
        </p:nvSpPr>
        <p:spPr>
          <a:xfrm>
            <a:off x="453306" y="9940925"/>
            <a:ext cx="864320" cy="144933"/>
          </a:xfrm>
          <a:prstGeom prst="rect">
            <a:avLst/>
          </a:prstGeom>
        </p:spPr>
        <p:txBody>
          <a:bodyPr vert="horz" lIns="91440" tIns="45720" rIns="91440" bIns="45720" rtlCol="0" anchor="ctr"/>
          <a:lstStyle>
            <a:lvl1pPr algn="l">
              <a:defRPr sz="800">
                <a:latin typeface="Arial" panose="020B0604020202020204" pitchFamily="34" charset="0"/>
                <a:ea typeface="Verdana" pitchFamily="34" charset="0"/>
                <a:cs typeface="Arial" panose="020B0604020202020204" pitchFamily="34" charset="0"/>
              </a:defRPr>
            </a:lvl1pPr>
          </a:lstStyle>
          <a:p>
            <a:r>
              <a:rPr lang="en-US"/>
              <a:t>2022-07-19</a:t>
            </a:r>
          </a:p>
          <a:p>
            <a:endParaRPr lang="en-US"/>
          </a:p>
        </p:txBody>
      </p:sp>
      <p:sp>
        <p:nvSpPr>
          <p:cNvPr id="12" name="IFXSHAPE"/>
          <p:cNvSpPr>
            <a:spLocks noGrp="1"/>
          </p:cNvSpPr>
          <p:nvPr>
            <p:ph type="sldNum" sz="quarter" idx="5"/>
          </p:nvPr>
        </p:nvSpPr>
        <p:spPr>
          <a:xfrm>
            <a:off x="6142037" y="9940925"/>
            <a:ext cx="503237" cy="144933"/>
          </a:xfrm>
          <a:prstGeom prst="rect">
            <a:avLst/>
          </a:prstGeom>
        </p:spPr>
        <p:txBody>
          <a:bodyPr vert="horz" lIns="91440" tIns="45720" rIns="91440" bIns="45720" rtlCol="0" anchor="ctr"/>
          <a:lstStyle>
            <a:lvl1pPr algn="r">
              <a:defRPr sz="800">
                <a:latin typeface="Verdana" pitchFamily="34" charset="0"/>
                <a:ea typeface="Verdana" pitchFamily="34" charset="0"/>
                <a:cs typeface="Verdana" pitchFamily="34" charset="0"/>
              </a:defRPr>
            </a:lvl1pPr>
          </a:lstStyle>
          <a:p>
            <a:fld id="{4165D906-55BD-49C5-997D-27A40DB53D15}" type="slidenum">
              <a:rPr lang="en-US" smtClean="0">
                <a:latin typeface="Arial" panose="020B0604020202020204" pitchFamily="34" charset="0"/>
                <a:cs typeface="Arial" panose="020B0604020202020204" pitchFamily="34" charset="0"/>
              </a:rPr>
              <a:pPr/>
              <a:t>‹#›</a:t>
            </a:fld>
            <a:endParaRPr lang="en-US">
              <a:latin typeface="Arial" panose="020B0604020202020204" pitchFamily="34" charset="0"/>
              <a:cs typeface="Arial" panose="020B0604020202020204" pitchFamily="34" charset="0"/>
            </a:endParaRPr>
          </a:p>
          <a:p>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3004185"/>
      </p:ext>
    </p:extLst>
  </p:cSld>
  <p:clrMap bg1="lt1" tx1="dk1" bg2="lt2" tx2="dk2" accent1="accent1" accent2="accent2" accent3="accent3" accent4="accent4" accent5="accent5" accent6="accent6" hlink="hlink" folHlink="folHlink"/>
  <p:hf/>
  <p:notesStyle>
    <a:lvl1pPr algn="l" rtl="0" fontAlgn="base">
      <a:spcBef>
        <a:spcPct val="30000"/>
      </a:spcBef>
      <a:spcAft>
        <a:spcPct val="0"/>
      </a:spcAft>
      <a:defRPr sz="1200"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30000"/>
      </a:spcBef>
      <a:spcAft>
        <a:spcPct val="0"/>
      </a:spcAft>
      <a:defRPr sz="1200" kern="1200">
        <a:solidFill>
          <a:srgbClr val="00214A"/>
        </a:solidFill>
        <a:latin typeface="Verdana" pitchFamily="34" charset="0"/>
        <a:ea typeface="+mn-ea"/>
        <a:cs typeface="+mn-cs"/>
      </a:defRPr>
    </a:lvl2pPr>
    <a:lvl3pPr marL="914400" algn="l" rtl="0" fontAlgn="base">
      <a:spcBef>
        <a:spcPct val="30000"/>
      </a:spcBef>
      <a:spcAft>
        <a:spcPct val="0"/>
      </a:spcAft>
      <a:defRPr sz="1200" kern="1200">
        <a:solidFill>
          <a:srgbClr val="00214A"/>
        </a:solidFill>
        <a:latin typeface="Verdana" pitchFamily="34" charset="0"/>
        <a:ea typeface="+mn-ea"/>
        <a:cs typeface="+mn-cs"/>
      </a:defRPr>
    </a:lvl3pPr>
    <a:lvl4pPr marL="1371600" algn="l" rtl="0" fontAlgn="base">
      <a:spcBef>
        <a:spcPct val="30000"/>
      </a:spcBef>
      <a:spcAft>
        <a:spcPct val="0"/>
      </a:spcAft>
      <a:defRPr sz="1200" kern="1200">
        <a:solidFill>
          <a:srgbClr val="00214A"/>
        </a:solidFill>
        <a:latin typeface="Verdana" pitchFamily="34" charset="0"/>
        <a:ea typeface="+mn-ea"/>
        <a:cs typeface="+mn-cs"/>
      </a:defRPr>
    </a:lvl4pPr>
    <a:lvl5pPr marL="1828800" algn="l" rtl="0" fontAlgn="base">
      <a:spcBef>
        <a:spcPct val="30000"/>
      </a:spcBef>
      <a:spcAft>
        <a:spcPct val="0"/>
      </a:spcAft>
      <a:defRPr sz="1200" kern="1200">
        <a:solidFill>
          <a:srgbClr val="00214A"/>
        </a:solidFill>
        <a:latin typeface="Verdan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4025" y="1012825"/>
            <a:ext cx="6191250" cy="3482975"/>
          </a:xfrm>
        </p:spPr>
      </p:sp>
      <p:sp>
        <p:nvSpPr>
          <p:cNvPr id="3" name="Notes Placeholder 2"/>
          <p:cNvSpPr>
            <a:spLocks noGrp="1"/>
          </p:cNvSpPr>
          <p:nvPr>
            <p:ph type="body" idx="1"/>
          </p:nvPr>
        </p:nvSpPr>
        <p:spPr/>
        <p:txBody>
          <a:bodyPr/>
          <a:lstStyle/>
          <a:p>
            <a:endParaRPr lang="en-SG"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r>
              <a:rPr lang="en-GB" dirty="0">
                <a:latin typeface="Arial" panose="020B0604020202020204" pitchFamily="34" charset="0"/>
                <a:cs typeface="Arial" panose="020B0604020202020204" pitchFamily="34" charset="0"/>
              </a:rPr>
              <a:t>Copyright © Infineon Technologies AG 2022. All rights reserved.</a:t>
            </a:r>
          </a:p>
          <a:p>
            <a:r>
              <a:rPr lang="en-GB" b="1" dirty="0">
                <a:latin typeface="Arial" panose="020B0604020202020204" pitchFamily="34" charset="0"/>
                <a:cs typeface="Arial" panose="020B0604020202020204" pitchFamily="34" charset="0"/>
              </a:rPr>
              <a:t>restricted</a:t>
            </a:r>
            <a:endParaRPr lang="en-US" b="1" dirty="0">
              <a:solidFill>
                <a:srgbClr val="E30034"/>
              </a:solidFill>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dirty="0"/>
              <a:t>2022-07-19</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1</a:t>
            </a:fld>
            <a:endParaRPr lang="en-US" dirty="0">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590317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4025" y="1012825"/>
            <a:ext cx="6191250" cy="3482975"/>
          </a:xfrm>
        </p:spPr>
      </p:sp>
      <p:sp>
        <p:nvSpPr>
          <p:cNvPr id="3" name="Notes Placeholder 2"/>
          <p:cNvSpPr>
            <a:spLocks noGrp="1"/>
          </p:cNvSpPr>
          <p:nvPr>
            <p:ph type="body" idx="1"/>
          </p:nvPr>
        </p:nvSpPr>
        <p:spPr/>
        <p:txBody>
          <a:bodyPr/>
          <a:lstStyle/>
          <a:p>
            <a:endParaRPr lang="en-SG"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r>
              <a:rPr lang="en-GB" dirty="0">
                <a:latin typeface="Arial" panose="020B0604020202020204" pitchFamily="34" charset="0"/>
                <a:cs typeface="Arial" panose="020B0604020202020204" pitchFamily="34" charset="0"/>
              </a:rPr>
              <a:t>Copyright © Infineon Technologies AG 2022. All rights reserved.</a:t>
            </a:r>
          </a:p>
          <a:p>
            <a:r>
              <a:rPr lang="en-GB" b="1" dirty="0">
                <a:latin typeface="Arial" panose="020B0604020202020204" pitchFamily="34" charset="0"/>
                <a:cs typeface="Arial" panose="020B0604020202020204" pitchFamily="34" charset="0"/>
              </a:rPr>
              <a:t>restricted</a:t>
            </a:r>
            <a:endParaRPr lang="en-US" b="1" dirty="0">
              <a:solidFill>
                <a:srgbClr val="E30034"/>
              </a:solidFill>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dirty="0"/>
              <a:t>2022-07-19</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10</a:t>
            </a:fld>
            <a:endParaRPr lang="en-US" dirty="0">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944151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4025" y="1012825"/>
            <a:ext cx="6191250" cy="3482975"/>
          </a:xfrm>
        </p:spPr>
      </p:sp>
      <p:sp>
        <p:nvSpPr>
          <p:cNvPr id="3" name="Notes Placeholder 2"/>
          <p:cNvSpPr>
            <a:spLocks noGrp="1"/>
          </p:cNvSpPr>
          <p:nvPr>
            <p:ph type="body" idx="1"/>
          </p:nvPr>
        </p:nvSpPr>
        <p:spPr/>
        <p:txBody>
          <a:bodyPr/>
          <a:lstStyle/>
          <a:p>
            <a:endParaRPr lang="en-SG"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r>
              <a:rPr lang="en-GB" dirty="0">
                <a:latin typeface="Arial" panose="020B0604020202020204" pitchFamily="34" charset="0"/>
                <a:cs typeface="Arial" panose="020B0604020202020204" pitchFamily="34" charset="0"/>
              </a:rPr>
              <a:t>Copyright © Infineon Technologies AG 2022. All rights reserved.</a:t>
            </a:r>
          </a:p>
          <a:p>
            <a:r>
              <a:rPr lang="en-GB" b="1" dirty="0">
                <a:latin typeface="Arial" panose="020B0604020202020204" pitchFamily="34" charset="0"/>
                <a:cs typeface="Arial" panose="020B0604020202020204" pitchFamily="34" charset="0"/>
              </a:rPr>
              <a:t>restricted</a:t>
            </a:r>
            <a:endParaRPr lang="en-US" b="1" dirty="0">
              <a:solidFill>
                <a:srgbClr val="E30034"/>
              </a:solidFill>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dirty="0"/>
              <a:t>2022-07-19</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11</a:t>
            </a:fld>
            <a:endParaRPr lang="en-US" dirty="0">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539763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4025" y="1012825"/>
            <a:ext cx="6191250" cy="3482975"/>
          </a:xfrm>
        </p:spPr>
      </p:sp>
      <p:sp>
        <p:nvSpPr>
          <p:cNvPr id="3" name="Notes Placeholder 2"/>
          <p:cNvSpPr>
            <a:spLocks noGrp="1"/>
          </p:cNvSpPr>
          <p:nvPr>
            <p:ph type="body" idx="1"/>
          </p:nvPr>
        </p:nvSpPr>
        <p:spPr/>
        <p:txBody>
          <a:bodyPr/>
          <a:lstStyle/>
          <a:p>
            <a:endParaRPr lang="en-SG"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r>
              <a:rPr lang="en-GB" dirty="0">
                <a:latin typeface="Arial" panose="020B0604020202020204" pitchFamily="34" charset="0"/>
                <a:cs typeface="Arial" panose="020B0604020202020204" pitchFamily="34" charset="0"/>
              </a:rPr>
              <a:t>Copyright © Infineon Technologies AG 2022. All rights reserved.</a:t>
            </a:r>
          </a:p>
          <a:p>
            <a:r>
              <a:rPr lang="en-GB" b="1" dirty="0">
                <a:latin typeface="Arial" panose="020B0604020202020204" pitchFamily="34" charset="0"/>
                <a:cs typeface="Arial" panose="020B0604020202020204" pitchFamily="34" charset="0"/>
              </a:rPr>
              <a:t>restricted</a:t>
            </a:r>
            <a:endParaRPr lang="en-US" b="1" dirty="0">
              <a:solidFill>
                <a:srgbClr val="E30034"/>
              </a:solidFill>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dirty="0"/>
              <a:t>2022-07-19</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12</a:t>
            </a:fld>
            <a:endParaRPr lang="en-US" dirty="0">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78983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4025" y="1012825"/>
            <a:ext cx="6191250" cy="3482975"/>
          </a:xfrm>
        </p:spPr>
      </p:sp>
      <p:sp>
        <p:nvSpPr>
          <p:cNvPr id="3" name="Notes Placeholder 2"/>
          <p:cNvSpPr>
            <a:spLocks noGrp="1"/>
          </p:cNvSpPr>
          <p:nvPr>
            <p:ph type="body" idx="1"/>
          </p:nvPr>
        </p:nvSpPr>
        <p:spPr/>
        <p:txBody>
          <a:bodyPr/>
          <a:lstStyle/>
          <a:p>
            <a:endParaRPr lang="en-SG"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r>
              <a:rPr lang="en-GB" dirty="0">
                <a:latin typeface="Arial" panose="020B0604020202020204" pitchFamily="34" charset="0"/>
                <a:cs typeface="Arial" panose="020B0604020202020204" pitchFamily="34" charset="0"/>
              </a:rPr>
              <a:t>Copyright © Infineon Technologies AG 2022. All rights reserved.</a:t>
            </a:r>
          </a:p>
          <a:p>
            <a:r>
              <a:rPr lang="en-GB" b="1" dirty="0">
                <a:latin typeface="Arial" panose="020B0604020202020204" pitchFamily="34" charset="0"/>
                <a:cs typeface="Arial" panose="020B0604020202020204" pitchFamily="34" charset="0"/>
              </a:rPr>
              <a:t>restricted</a:t>
            </a:r>
            <a:endParaRPr lang="en-US" b="1" dirty="0">
              <a:solidFill>
                <a:srgbClr val="E30034"/>
              </a:solidFill>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dirty="0"/>
              <a:t>2022-07-19</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13</a:t>
            </a:fld>
            <a:endParaRPr lang="en-US" dirty="0">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320679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4025" y="1012825"/>
            <a:ext cx="6191250" cy="3482975"/>
          </a:xfrm>
        </p:spPr>
      </p:sp>
      <p:sp>
        <p:nvSpPr>
          <p:cNvPr id="3" name="Notes Placeholder 2"/>
          <p:cNvSpPr>
            <a:spLocks noGrp="1"/>
          </p:cNvSpPr>
          <p:nvPr>
            <p:ph type="body" idx="1"/>
          </p:nvPr>
        </p:nvSpPr>
        <p:spPr/>
        <p:txBody>
          <a:bodyPr/>
          <a:lstStyle/>
          <a:p>
            <a:endParaRPr lang="en-SG"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r>
              <a:rPr lang="en-GB" dirty="0">
                <a:latin typeface="Arial" panose="020B0604020202020204" pitchFamily="34" charset="0"/>
                <a:cs typeface="Arial" panose="020B0604020202020204" pitchFamily="34" charset="0"/>
              </a:rPr>
              <a:t>Copyright © Infineon Technologies AG 2022. All rights reserved.</a:t>
            </a:r>
          </a:p>
          <a:p>
            <a:r>
              <a:rPr lang="en-GB" b="1" dirty="0">
                <a:latin typeface="Arial" panose="020B0604020202020204" pitchFamily="34" charset="0"/>
                <a:cs typeface="Arial" panose="020B0604020202020204" pitchFamily="34" charset="0"/>
              </a:rPr>
              <a:t>restricted</a:t>
            </a:r>
            <a:endParaRPr lang="en-US" b="1" dirty="0">
              <a:solidFill>
                <a:srgbClr val="E30034"/>
              </a:solidFill>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dirty="0"/>
              <a:t>2022-07-19</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14</a:t>
            </a:fld>
            <a:endParaRPr lang="en-US" dirty="0">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647345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4025" y="1012825"/>
            <a:ext cx="6191250" cy="3482975"/>
          </a:xfrm>
        </p:spPr>
      </p:sp>
      <p:sp>
        <p:nvSpPr>
          <p:cNvPr id="3" name="Notes Placeholder 2"/>
          <p:cNvSpPr>
            <a:spLocks noGrp="1"/>
          </p:cNvSpPr>
          <p:nvPr>
            <p:ph type="body" idx="1"/>
          </p:nvPr>
        </p:nvSpPr>
        <p:spPr/>
        <p:txBody>
          <a:bodyPr/>
          <a:lstStyle/>
          <a:p>
            <a:endParaRPr lang="en-SG"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r>
              <a:rPr lang="en-GB" dirty="0">
                <a:latin typeface="Arial" panose="020B0604020202020204" pitchFamily="34" charset="0"/>
                <a:cs typeface="Arial" panose="020B0604020202020204" pitchFamily="34" charset="0"/>
              </a:rPr>
              <a:t>Copyright © Infineon Technologies AG 2022. All rights reserved.</a:t>
            </a:r>
          </a:p>
          <a:p>
            <a:r>
              <a:rPr lang="en-GB" b="1" dirty="0">
                <a:latin typeface="Arial" panose="020B0604020202020204" pitchFamily="34" charset="0"/>
                <a:cs typeface="Arial" panose="020B0604020202020204" pitchFamily="34" charset="0"/>
              </a:rPr>
              <a:t>restricted</a:t>
            </a:r>
            <a:endParaRPr lang="en-US" b="1" dirty="0">
              <a:solidFill>
                <a:srgbClr val="E30034"/>
              </a:solidFill>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dirty="0"/>
              <a:t>2022-07-19</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15</a:t>
            </a:fld>
            <a:endParaRPr lang="en-US" dirty="0">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314452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4025" y="1012825"/>
            <a:ext cx="6191250" cy="3482975"/>
          </a:xfrm>
        </p:spPr>
      </p:sp>
      <p:sp>
        <p:nvSpPr>
          <p:cNvPr id="3" name="Notes Placeholder 2"/>
          <p:cNvSpPr>
            <a:spLocks noGrp="1"/>
          </p:cNvSpPr>
          <p:nvPr>
            <p:ph type="body" idx="1"/>
          </p:nvPr>
        </p:nvSpPr>
        <p:spPr/>
        <p:txBody>
          <a:bodyPr/>
          <a:lstStyle/>
          <a:p>
            <a:endParaRPr lang="en-SG"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r>
              <a:rPr lang="en-GB" dirty="0">
                <a:latin typeface="Arial" panose="020B0604020202020204" pitchFamily="34" charset="0"/>
                <a:cs typeface="Arial" panose="020B0604020202020204" pitchFamily="34" charset="0"/>
              </a:rPr>
              <a:t>Copyright © Infineon Technologies AG 2022. All rights reserved.</a:t>
            </a:r>
          </a:p>
          <a:p>
            <a:r>
              <a:rPr lang="en-GB" b="1" dirty="0">
                <a:latin typeface="Arial" panose="020B0604020202020204" pitchFamily="34" charset="0"/>
                <a:cs typeface="Arial" panose="020B0604020202020204" pitchFamily="34" charset="0"/>
              </a:rPr>
              <a:t>restricted</a:t>
            </a:r>
            <a:endParaRPr lang="en-US" b="1" dirty="0">
              <a:solidFill>
                <a:srgbClr val="E30034"/>
              </a:solidFill>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dirty="0"/>
              <a:t>2022-07-19</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16</a:t>
            </a:fld>
            <a:endParaRPr lang="en-US" dirty="0">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312314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4025" y="1012825"/>
            <a:ext cx="6191250" cy="3482975"/>
          </a:xfrm>
        </p:spPr>
      </p:sp>
      <p:sp>
        <p:nvSpPr>
          <p:cNvPr id="3" name="Notes Placeholder 2"/>
          <p:cNvSpPr>
            <a:spLocks noGrp="1"/>
          </p:cNvSpPr>
          <p:nvPr>
            <p:ph type="body" idx="1"/>
          </p:nvPr>
        </p:nvSpPr>
        <p:spPr/>
        <p:txBody>
          <a:bodyPr/>
          <a:lstStyle/>
          <a:p>
            <a:endParaRPr lang="en-SG"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r>
              <a:rPr lang="en-GB" dirty="0">
                <a:latin typeface="Arial" panose="020B0604020202020204" pitchFamily="34" charset="0"/>
                <a:cs typeface="Arial" panose="020B0604020202020204" pitchFamily="34" charset="0"/>
              </a:rPr>
              <a:t>Copyright © Infineon Technologies AG 2022. All rights reserved.</a:t>
            </a:r>
          </a:p>
          <a:p>
            <a:r>
              <a:rPr lang="en-GB" b="1" dirty="0">
                <a:latin typeface="Arial" panose="020B0604020202020204" pitchFamily="34" charset="0"/>
                <a:cs typeface="Arial" panose="020B0604020202020204" pitchFamily="34" charset="0"/>
              </a:rPr>
              <a:t>restricted</a:t>
            </a:r>
            <a:endParaRPr lang="en-US" b="1" dirty="0">
              <a:solidFill>
                <a:srgbClr val="E30034"/>
              </a:solidFill>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dirty="0"/>
              <a:t>2022-07-19</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17</a:t>
            </a:fld>
            <a:endParaRPr lang="en-US" dirty="0">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687062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4025" y="1012825"/>
            <a:ext cx="6191250" cy="3482975"/>
          </a:xfrm>
        </p:spPr>
      </p:sp>
      <p:sp>
        <p:nvSpPr>
          <p:cNvPr id="3" name="Notes Placeholder 2"/>
          <p:cNvSpPr>
            <a:spLocks noGrp="1"/>
          </p:cNvSpPr>
          <p:nvPr>
            <p:ph type="body" idx="1"/>
          </p:nvPr>
        </p:nvSpPr>
        <p:spPr/>
        <p:txBody>
          <a:bodyPr/>
          <a:lstStyle/>
          <a:p>
            <a:endParaRPr lang="en-SG"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r>
              <a:rPr lang="en-GB" dirty="0">
                <a:latin typeface="Arial" panose="020B0604020202020204" pitchFamily="34" charset="0"/>
                <a:cs typeface="Arial" panose="020B0604020202020204" pitchFamily="34" charset="0"/>
              </a:rPr>
              <a:t>Copyright © Infineon Technologies AG 2022. All rights reserved.</a:t>
            </a:r>
          </a:p>
          <a:p>
            <a:r>
              <a:rPr lang="en-GB" b="1" dirty="0">
                <a:latin typeface="Arial" panose="020B0604020202020204" pitchFamily="34" charset="0"/>
                <a:cs typeface="Arial" panose="020B0604020202020204" pitchFamily="34" charset="0"/>
              </a:rPr>
              <a:t>restricted</a:t>
            </a:r>
            <a:endParaRPr lang="en-US" b="1" dirty="0">
              <a:solidFill>
                <a:srgbClr val="E30034"/>
              </a:solidFill>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dirty="0"/>
              <a:t>2022-07-19</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18</a:t>
            </a:fld>
            <a:endParaRPr lang="en-US" dirty="0">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8542065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4025" y="1012825"/>
            <a:ext cx="6191250" cy="3482975"/>
          </a:xfrm>
        </p:spPr>
      </p:sp>
      <p:sp>
        <p:nvSpPr>
          <p:cNvPr id="3" name="Notes Placeholder 2"/>
          <p:cNvSpPr>
            <a:spLocks noGrp="1"/>
          </p:cNvSpPr>
          <p:nvPr>
            <p:ph type="body" idx="1"/>
          </p:nvPr>
        </p:nvSpPr>
        <p:spPr/>
        <p:txBody>
          <a:bodyPr/>
          <a:lstStyle/>
          <a:p>
            <a:endParaRPr lang="en-SG"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r>
              <a:rPr lang="en-GB" dirty="0">
                <a:latin typeface="Arial" panose="020B0604020202020204" pitchFamily="34" charset="0"/>
                <a:cs typeface="Arial" panose="020B0604020202020204" pitchFamily="34" charset="0"/>
              </a:rPr>
              <a:t>Copyright © Infineon Technologies AG 2022. All rights reserved.</a:t>
            </a:r>
          </a:p>
          <a:p>
            <a:r>
              <a:rPr lang="en-GB" b="1" dirty="0">
                <a:latin typeface="Arial" panose="020B0604020202020204" pitchFamily="34" charset="0"/>
                <a:cs typeface="Arial" panose="020B0604020202020204" pitchFamily="34" charset="0"/>
              </a:rPr>
              <a:t>restricted</a:t>
            </a:r>
            <a:endParaRPr lang="en-US" b="1" dirty="0">
              <a:solidFill>
                <a:srgbClr val="E30034"/>
              </a:solidFill>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dirty="0"/>
              <a:t>2022-07-19</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19</a:t>
            </a:fld>
            <a:endParaRPr lang="en-US" dirty="0">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52573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4025" y="1012825"/>
            <a:ext cx="6191250" cy="3482975"/>
          </a:xfrm>
        </p:spPr>
      </p:sp>
      <p:sp>
        <p:nvSpPr>
          <p:cNvPr id="3" name="Notes Placeholder 2"/>
          <p:cNvSpPr>
            <a:spLocks noGrp="1"/>
          </p:cNvSpPr>
          <p:nvPr>
            <p:ph type="body" idx="1"/>
          </p:nvPr>
        </p:nvSpPr>
        <p:spPr/>
        <p:txBody>
          <a:bodyPr/>
          <a:lstStyle/>
          <a:p>
            <a:endParaRPr lang="en-SG"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r>
              <a:rPr lang="en-GB" dirty="0">
                <a:latin typeface="Arial" panose="020B0604020202020204" pitchFamily="34" charset="0"/>
                <a:cs typeface="Arial" panose="020B0604020202020204" pitchFamily="34" charset="0"/>
              </a:rPr>
              <a:t>Copyright © Infineon Technologies AG 2022. All rights reserved.</a:t>
            </a:r>
          </a:p>
          <a:p>
            <a:r>
              <a:rPr lang="en-GB" b="1" dirty="0">
                <a:latin typeface="Arial" panose="020B0604020202020204" pitchFamily="34" charset="0"/>
                <a:cs typeface="Arial" panose="020B0604020202020204" pitchFamily="34" charset="0"/>
              </a:rPr>
              <a:t>restricted</a:t>
            </a:r>
            <a:endParaRPr lang="en-US" b="1" dirty="0">
              <a:solidFill>
                <a:srgbClr val="E30034"/>
              </a:solidFill>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dirty="0"/>
              <a:t>2022-07-19</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2</a:t>
            </a:fld>
            <a:endParaRPr lang="en-US" dirty="0">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610254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4025" y="1012825"/>
            <a:ext cx="6191250" cy="3482975"/>
          </a:xfrm>
        </p:spPr>
      </p:sp>
      <p:sp>
        <p:nvSpPr>
          <p:cNvPr id="3" name="Notes Placeholder 2"/>
          <p:cNvSpPr>
            <a:spLocks noGrp="1"/>
          </p:cNvSpPr>
          <p:nvPr>
            <p:ph type="body" idx="1"/>
          </p:nvPr>
        </p:nvSpPr>
        <p:spPr/>
        <p:txBody>
          <a:bodyPr/>
          <a:lstStyle/>
          <a:p>
            <a:endParaRPr lang="en-SG"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r>
              <a:rPr lang="en-GB" dirty="0">
                <a:latin typeface="Arial" panose="020B0604020202020204" pitchFamily="34" charset="0"/>
                <a:cs typeface="Arial" panose="020B0604020202020204" pitchFamily="34" charset="0"/>
              </a:rPr>
              <a:t>Copyright © Infineon Technologies AG 2022. All rights reserved.</a:t>
            </a:r>
          </a:p>
          <a:p>
            <a:r>
              <a:rPr lang="en-GB" b="1" dirty="0">
                <a:latin typeface="Arial" panose="020B0604020202020204" pitchFamily="34" charset="0"/>
                <a:cs typeface="Arial" panose="020B0604020202020204" pitchFamily="34" charset="0"/>
              </a:rPr>
              <a:t>restricted</a:t>
            </a:r>
            <a:endParaRPr lang="en-US" b="1" dirty="0">
              <a:solidFill>
                <a:srgbClr val="E30034"/>
              </a:solidFill>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dirty="0"/>
              <a:t>2022-07-19</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3</a:t>
            </a:fld>
            <a:endParaRPr lang="en-US" dirty="0">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31214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4025" y="1012825"/>
            <a:ext cx="6191250" cy="3482975"/>
          </a:xfrm>
        </p:spPr>
      </p:sp>
      <p:sp>
        <p:nvSpPr>
          <p:cNvPr id="3" name="Notes Placeholder 2"/>
          <p:cNvSpPr>
            <a:spLocks noGrp="1"/>
          </p:cNvSpPr>
          <p:nvPr>
            <p:ph type="body" idx="1"/>
          </p:nvPr>
        </p:nvSpPr>
        <p:spPr/>
        <p:txBody>
          <a:bodyPr/>
          <a:lstStyle/>
          <a:p>
            <a:endParaRPr lang="en-SG"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r>
              <a:rPr lang="en-GB" dirty="0">
                <a:latin typeface="Arial" panose="020B0604020202020204" pitchFamily="34" charset="0"/>
                <a:cs typeface="Arial" panose="020B0604020202020204" pitchFamily="34" charset="0"/>
              </a:rPr>
              <a:t>Copyright © Infineon Technologies AG 2022. All rights reserved.</a:t>
            </a:r>
          </a:p>
          <a:p>
            <a:r>
              <a:rPr lang="en-GB" b="1" dirty="0">
                <a:latin typeface="Arial" panose="020B0604020202020204" pitchFamily="34" charset="0"/>
                <a:cs typeface="Arial" panose="020B0604020202020204" pitchFamily="34" charset="0"/>
              </a:rPr>
              <a:t>restricted</a:t>
            </a:r>
            <a:endParaRPr lang="en-US" b="1" dirty="0">
              <a:solidFill>
                <a:srgbClr val="E30034"/>
              </a:solidFill>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dirty="0"/>
              <a:t>2022-07-19</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4</a:t>
            </a:fld>
            <a:endParaRPr lang="en-US" dirty="0">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740149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4025" y="1012825"/>
            <a:ext cx="6191250" cy="3482975"/>
          </a:xfrm>
        </p:spPr>
      </p:sp>
      <p:sp>
        <p:nvSpPr>
          <p:cNvPr id="3" name="Notes Placeholder 2"/>
          <p:cNvSpPr>
            <a:spLocks noGrp="1"/>
          </p:cNvSpPr>
          <p:nvPr>
            <p:ph type="body" idx="1"/>
          </p:nvPr>
        </p:nvSpPr>
        <p:spPr/>
        <p:txBody>
          <a:bodyPr/>
          <a:lstStyle/>
          <a:p>
            <a:endParaRPr lang="en-SG"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r>
              <a:rPr lang="en-GB" dirty="0">
                <a:latin typeface="Arial" panose="020B0604020202020204" pitchFamily="34" charset="0"/>
                <a:cs typeface="Arial" panose="020B0604020202020204" pitchFamily="34" charset="0"/>
              </a:rPr>
              <a:t>Copyright © Infineon Technologies AG 2022. All rights reserved.</a:t>
            </a:r>
          </a:p>
          <a:p>
            <a:r>
              <a:rPr lang="en-GB" b="1" dirty="0">
                <a:latin typeface="Arial" panose="020B0604020202020204" pitchFamily="34" charset="0"/>
                <a:cs typeface="Arial" panose="020B0604020202020204" pitchFamily="34" charset="0"/>
              </a:rPr>
              <a:t>restricted</a:t>
            </a:r>
            <a:endParaRPr lang="en-US" b="1" dirty="0">
              <a:solidFill>
                <a:srgbClr val="E30034"/>
              </a:solidFill>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dirty="0"/>
              <a:t>2022-07-19</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5</a:t>
            </a:fld>
            <a:endParaRPr lang="en-US" dirty="0">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531325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4025" y="1012825"/>
            <a:ext cx="6191250" cy="3482975"/>
          </a:xfrm>
        </p:spPr>
      </p:sp>
      <p:sp>
        <p:nvSpPr>
          <p:cNvPr id="3" name="Notes Placeholder 2"/>
          <p:cNvSpPr>
            <a:spLocks noGrp="1"/>
          </p:cNvSpPr>
          <p:nvPr>
            <p:ph type="body" idx="1"/>
          </p:nvPr>
        </p:nvSpPr>
        <p:spPr/>
        <p:txBody>
          <a:bodyPr/>
          <a:lstStyle/>
          <a:p>
            <a:endParaRPr lang="en-SG"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r>
              <a:rPr lang="en-GB" dirty="0">
                <a:latin typeface="Arial" panose="020B0604020202020204" pitchFamily="34" charset="0"/>
                <a:cs typeface="Arial" panose="020B0604020202020204" pitchFamily="34" charset="0"/>
              </a:rPr>
              <a:t>Copyright © Infineon Technologies AG 2022. All rights reserved.</a:t>
            </a:r>
          </a:p>
          <a:p>
            <a:r>
              <a:rPr lang="en-GB" b="1" dirty="0">
                <a:latin typeface="Arial" panose="020B0604020202020204" pitchFamily="34" charset="0"/>
                <a:cs typeface="Arial" panose="020B0604020202020204" pitchFamily="34" charset="0"/>
              </a:rPr>
              <a:t>restricted</a:t>
            </a:r>
            <a:endParaRPr lang="en-US" b="1" dirty="0">
              <a:solidFill>
                <a:srgbClr val="E30034"/>
              </a:solidFill>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dirty="0"/>
              <a:t>2022-07-19</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6</a:t>
            </a:fld>
            <a:endParaRPr lang="en-US" dirty="0">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845325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4025" y="1012825"/>
            <a:ext cx="6191250" cy="3482975"/>
          </a:xfrm>
        </p:spPr>
      </p:sp>
      <p:sp>
        <p:nvSpPr>
          <p:cNvPr id="3" name="Notes Placeholder 2"/>
          <p:cNvSpPr>
            <a:spLocks noGrp="1"/>
          </p:cNvSpPr>
          <p:nvPr>
            <p:ph type="body" idx="1"/>
          </p:nvPr>
        </p:nvSpPr>
        <p:spPr/>
        <p:txBody>
          <a:bodyPr/>
          <a:lstStyle/>
          <a:p>
            <a:endParaRPr lang="en-SG"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r>
              <a:rPr lang="en-GB" dirty="0">
                <a:latin typeface="Arial" panose="020B0604020202020204" pitchFamily="34" charset="0"/>
                <a:cs typeface="Arial" panose="020B0604020202020204" pitchFamily="34" charset="0"/>
              </a:rPr>
              <a:t>Copyright © Infineon Technologies AG 2022. All rights reserved.</a:t>
            </a:r>
          </a:p>
          <a:p>
            <a:r>
              <a:rPr lang="en-GB" b="1" dirty="0">
                <a:latin typeface="Arial" panose="020B0604020202020204" pitchFamily="34" charset="0"/>
                <a:cs typeface="Arial" panose="020B0604020202020204" pitchFamily="34" charset="0"/>
              </a:rPr>
              <a:t>restricted</a:t>
            </a:r>
            <a:endParaRPr lang="en-US" b="1" dirty="0">
              <a:solidFill>
                <a:srgbClr val="E30034"/>
              </a:solidFill>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dirty="0"/>
              <a:t>2022-07-19</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7</a:t>
            </a:fld>
            <a:endParaRPr lang="en-US" dirty="0">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958767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4025" y="1012825"/>
            <a:ext cx="6191250" cy="3482975"/>
          </a:xfrm>
        </p:spPr>
      </p:sp>
      <p:sp>
        <p:nvSpPr>
          <p:cNvPr id="3" name="Notes Placeholder 2"/>
          <p:cNvSpPr>
            <a:spLocks noGrp="1"/>
          </p:cNvSpPr>
          <p:nvPr>
            <p:ph type="body" idx="1"/>
          </p:nvPr>
        </p:nvSpPr>
        <p:spPr/>
        <p:txBody>
          <a:bodyPr/>
          <a:lstStyle/>
          <a:p>
            <a:endParaRPr lang="en-SG"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r>
              <a:rPr lang="en-GB" dirty="0">
                <a:latin typeface="Arial" panose="020B0604020202020204" pitchFamily="34" charset="0"/>
                <a:cs typeface="Arial" panose="020B0604020202020204" pitchFamily="34" charset="0"/>
              </a:rPr>
              <a:t>Copyright © Infineon Technologies AG 2022. All rights reserved.</a:t>
            </a:r>
          </a:p>
          <a:p>
            <a:r>
              <a:rPr lang="en-GB" b="1" dirty="0">
                <a:latin typeface="Arial" panose="020B0604020202020204" pitchFamily="34" charset="0"/>
                <a:cs typeface="Arial" panose="020B0604020202020204" pitchFamily="34" charset="0"/>
              </a:rPr>
              <a:t>restricted</a:t>
            </a:r>
            <a:endParaRPr lang="en-US" b="1" dirty="0">
              <a:solidFill>
                <a:srgbClr val="E30034"/>
              </a:solidFill>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dirty="0"/>
              <a:t>2022-07-19</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8</a:t>
            </a:fld>
            <a:endParaRPr lang="en-US" dirty="0">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243040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4025" y="1012825"/>
            <a:ext cx="6191250" cy="3482975"/>
          </a:xfrm>
        </p:spPr>
      </p:sp>
      <p:sp>
        <p:nvSpPr>
          <p:cNvPr id="3" name="Notes Placeholder 2"/>
          <p:cNvSpPr>
            <a:spLocks noGrp="1"/>
          </p:cNvSpPr>
          <p:nvPr>
            <p:ph type="body" idx="1"/>
          </p:nvPr>
        </p:nvSpPr>
        <p:spPr/>
        <p:txBody>
          <a:bodyPr/>
          <a:lstStyle/>
          <a:p>
            <a:endParaRPr lang="en-SG"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r>
              <a:rPr lang="en-GB" dirty="0">
                <a:latin typeface="Arial" panose="020B0604020202020204" pitchFamily="34" charset="0"/>
                <a:cs typeface="Arial" panose="020B0604020202020204" pitchFamily="34" charset="0"/>
              </a:rPr>
              <a:t>Copyright © Infineon Technologies AG 2022. All rights reserved.</a:t>
            </a:r>
          </a:p>
          <a:p>
            <a:r>
              <a:rPr lang="en-GB" b="1" dirty="0">
                <a:latin typeface="Arial" panose="020B0604020202020204" pitchFamily="34" charset="0"/>
                <a:cs typeface="Arial" panose="020B0604020202020204" pitchFamily="34" charset="0"/>
              </a:rPr>
              <a:t>restricted</a:t>
            </a:r>
            <a:endParaRPr lang="en-US" b="1" dirty="0">
              <a:solidFill>
                <a:srgbClr val="E30034"/>
              </a:solidFill>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dirty="0"/>
              <a:t>2022-07-19</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9</a:t>
            </a:fld>
            <a:endParaRPr lang="en-US" dirty="0">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031922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3.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74.xml"/><Relationship Id="rId3" Type="http://schemas.openxmlformats.org/officeDocument/2006/relationships/tags" Target="../tags/tag69.xml"/><Relationship Id="rId7" Type="http://schemas.openxmlformats.org/officeDocument/2006/relationships/tags" Target="../tags/tag73.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tags" Target="../tags/tag72.xml"/><Relationship Id="rId5" Type="http://schemas.openxmlformats.org/officeDocument/2006/relationships/tags" Target="../tags/tag71.xml"/><Relationship Id="rId10" Type="http://schemas.openxmlformats.org/officeDocument/2006/relationships/slideMaster" Target="../slideMasters/slideMaster1.xml"/><Relationship Id="rId4" Type="http://schemas.openxmlformats.org/officeDocument/2006/relationships/tags" Target="../tags/tag70.xml"/><Relationship Id="rId9" Type="http://schemas.openxmlformats.org/officeDocument/2006/relationships/tags" Target="../tags/tag75.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83.xml"/><Relationship Id="rId3" Type="http://schemas.openxmlformats.org/officeDocument/2006/relationships/tags" Target="../tags/tag78.xml"/><Relationship Id="rId7" Type="http://schemas.openxmlformats.org/officeDocument/2006/relationships/tags" Target="../tags/tag82.xml"/><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tags" Target="../tags/tag81.xml"/><Relationship Id="rId5" Type="http://schemas.openxmlformats.org/officeDocument/2006/relationships/tags" Target="../tags/tag80.xml"/><Relationship Id="rId10" Type="http://schemas.openxmlformats.org/officeDocument/2006/relationships/slideMaster" Target="../slideMasters/slideMaster1.xml"/><Relationship Id="rId4" Type="http://schemas.openxmlformats.org/officeDocument/2006/relationships/tags" Target="../tags/tag79.xml"/><Relationship Id="rId9" Type="http://schemas.openxmlformats.org/officeDocument/2006/relationships/tags" Target="../tags/tag84.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92.xml"/><Relationship Id="rId3" Type="http://schemas.openxmlformats.org/officeDocument/2006/relationships/tags" Target="../tags/tag87.xml"/><Relationship Id="rId7" Type="http://schemas.openxmlformats.org/officeDocument/2006/relationships/tags" Target="../tags/tag91.xml"/><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tags" Target="../tags/tag90.xml"/><Relationship Id="rId5" Type="http://schemas.openxmlformats.org/officeDocument/2006/relationships/tags" Target="../tags/tag89.xml"/><Relationship Id="rId10" Type="http://schemas.openxmlformats.org/officeDocument/2006/relationships/slideMaster" Target="../slideMasters/slideMaster1.xml"/><Relationship Id="rId4" Type="http://schemas.openxmlformats.org/officeDocument/2006/relationships/tags" Target="../tags/tag88.xml"/><Relationship Id="rId9" Type="http://schemas.openxmlformats.org/officeDocument/2006/relationships/tags" Target="../tags/tag93.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01.xml"/><Relationship Id="rId3" Type="http://schemas.openxmlformats.org/officeDocument/2006/relationships/tags" Target="../tags/tag96.xml"/><Relationship Id="rId7" Type="http://schemas.openxmlformats.org/officeDocument/2006/relationships/tags" Target="../tags/tag100.xml"/><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tags" Target="../tags/tag99.xml"/><Relationship Id="rId5" Type="http://schemas.openxmlformats.org/officeDocument/2006/relationships/tags" Target="../tags/tag98.xml"/><Relationship Id="rId10" Type="http://schemas.openxmlformats.org/officeDocument/2006/relationships/slideMaster" Target="../slideMasters/slideMaster1.xml"/><Relationship Id="rId4" Type="http://schemas.openxmlformats.org/officeDocument/2006/relationships/tags" Target="../tags/tag97.xml"/><Relationship Id="rId9" Type="http://schemas.openxmlformats.org/officeDocument/2006/relationships/tags" Target="../tags/tag102.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110.xml"/><Relationship Id="rId3" Type="http://schemas.openxmlformats.org/officeDocument/2006/relationships/tags" Target="../tags/tag105.xml"/><Relationship Id="rId7" Type="http://schemas.openxmlformats.org/officeDocument/2006/relationships/tags" Target="../tags/tag109.xml"/><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tags" Target="../tags/tag108.xml"/><Relationship Id="rId5" Type="http://schemas.openxmlformats.org/officeDocument/2006/relationships/tags" Target="../tags/tag107.xml"/><Relationship Id="rId10" Type="http://schemas.openxmlformats.org/officeDocument/2006/relationships/slideMaster" Target="../slideMasters/slideMaster1.xml"/><Relationship Id="rId4" Type="http://schemas.openxmlformats.org/officeDocument/2006/relationships/tags" Target="../tags/tag106.xml"/><Relationship Id="rId9" Type="http://schemas.openxmlformats.org/officeDocument/2006/relationships/tags" Target="../tags/tag11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19.xml"/><Relationship Id="rId3" Type="http://schemas.openxmlformats.org/officeDocument/2006/relationships/tags" Target="../tags/tag114.xml"/><Relationship Id="rId7" Type="http://schemas.openxmlformats.org/officeDocument/2006/relationships/tags" Target="../tags/tag118.xml"/><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tags" Target="../tags/tag117.xml"/><Relationship Id="rId5" Type="http://schemas.openxmlformats.org/officeDocument/2006/relationships/tags" Target="../tags/tag116.xml"/><Relationship Id="rId10" Type="http://schemas.openxmlformats.org/officeDocument/2006/relationships/slideMaster" Target="../slideMasters/slideMaster1.xml"/><Relationship Id="rId4" Type="http://schemas.openxmlformats.org/officeDocument/2006/relationships/tags" Target="../tags/tag115.xml"/><Relationship Id="rId9" Type="http://schemas.openxmlformats.org/officeDocument/2006/relationships/tags" Target="../tags/tag120.xml"/></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28.xml"/><Relationship Id="rId3" Type="http://schemas.openxmlformats.org/officeDocument/2006/relationships/tags" Target="../tags/tag123.xml"/><Relationship Id="rId7" Type="http://schemas.openxmlformats.org/officeDocument/2006/relationships/tags" Target="../tags/tag127.xml"/><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tags" Target="../tags/tag126.xml"/><Relationship Id="rId5" Type="http://schemas.openxmlformats.org/officeDocument/2006/relationships/tags" Target="../tags/tag125.xml"/><Relationship Id="rId10" Type="http://schemas.openxmlformats.org/officeDocument/2006/relationships/slideMaster" Target="../slideMasters/slideMaster1.xml"/><Relationship Id="rId4" Type="http://schemas.openxmlformats.org/officeDocument/2006/relationships/tags" Target="../tags/tag124.xml"/><Relationship Id="rId9" Type="http://schemas.openxmlformats.org/officeDocument/2006/relationships/tags" Target="../tags/tag129.xml"/></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137.xml"/><Relationship Id="rId3" Type="http://schemas.openxmlformats.org/officeDocument/2006/relationships/tags" Target="../tags/tag132.xml"/><Relationship Id="rId7" Type="http://schemas.openxmlformats.org/officeDocument/2006/relationships/tags" Target="../tags/tag136.xml"/><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tags" Target="../tags/tag135.xml"/><Relationship Id="rId5" Type="http://schemas.openxmlformats.org/officeDocument/2006/relationships/tags" Target="../tags/tag134.xml"/><Relationship Id="rId4" Type="http://schemas.openxmlformats.org/officeDocument/2006/relationships/tags" Target="../tags/tag133.xml"/><Relationship Id="rId9"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138.xml"/><Relationship Id="rId4" Type="http://schemas.openxmlformats.org/officeDocument/2006/relationships/image" Target="../media/image7.jpe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4.jp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slideMaster" Target="../slideMasters/slideMaster1.xml"/><Relationship Id="rId5" Type="http://schemas.openxmlformats.org/officeDocument/2006/relationships/tags" Target="../tags/tag19.xml"/><Relationship Id="rId4" Type="http://schemas.openxmlformats.org/officeDocument/2006/relationships/tags" Target="../tags/tag18.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5.jp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slideMaster" Target="../slideMasters/slideMaster1.xml"/><Relationship Id="rId5" Type="http://schemas.openxmlformats.org/officeDocument/2006/relationships/tags" Target="../tags/tag24.xml"/><Relationship Id="rId4" Type="http://schemas.openxmlformats.org/officeDocument/2006/relationships/tags" Target="../tags/tag2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slideMaster" Target="../slideMasters/slideMaster1.xml"/><Relationship Id="rId5" Type="http://schemas.openxmlformats.org/officeDocument/2006/relationships/tags" Target="../tags/tag29.xml"/><Relationship Id="rId4" Type="http://schemas.openxmlformats.org/officeDocument/2006/relationships/tags" Target="../tags/tag28.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37.xml"/><Relationship Id="rId3" Type="http://schemas.openxmlformats.org/officeDocument/2006/relationships/tags" Target="../tags/tag32.xml"/><Relationship Id="rId7" Type="http://schemas.openxmlformats.org/officeDocument/2006/relationships/tags" Target="../tags/tag36.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tags" Target="../tags/tag35.xml"/><Relationship Id="rId5" Type="http://schemas.openxmlformats.org/officeDocument/2006/relationships/tags" Target="../tags/tag34.xml"/><Relationship Id="rId10" Type="http://schemas.openxmlformats.org/officeDocument/2006/relationships/slideMaster" Target="../slideMasters/slideMaster1.xml"/><Relationship Id="rId4" Type="http://schemas.openxmlformats.org/officeDocument/2006/relationships/tags" Target="../tags/tag33.xml"/><Relationship Id="rId9" Type="http://schemas.openxmlformats.org/officeDocument/2006/relationships/tags" Target="../tags/tag38.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46.xml"/><Relationship Id="rId3" Type="http://schemas.openxmlformats.org/officeDocument/2006/relationships/tags" Target="../tags/tag41.xml"/><Relationship Id="rId7" Type="http://schemas.openxmlformats.org/officeDocument/2006/relationships/tags" Target="../tags/tag45.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tags" Target="../tags/tag44.xml"/><Relationship Id="rId5" Type="http://schemas.openxmlformats.org/officeDocument/2006/relationships/tags" Target="../tags/tag43.xml"/><Relationship Id="rId10" Type="http://schemas.openxmlformats.org/officeDocument/2006/relationships/slideMaster" Target="../slideMasters/slideMaster1.xml"/><Relationship Id="rId4" Type="http://schemas.openxmlformats.org/officeDocument/2006/relationships/tags" Target="../tags/tag42.xml"/><Relationship Id="rId9" Type="http://schemas.openxmlformats.org/officeDocument/2006/relationships/tags" Target="../tags/tag47.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55.xml"/><Relationship Id="rId3" Type="http://schemas.openxmlformats.org/officeDocument/2006/relationships/tags" Target="../tags/tag50.xml"/><Relationship Id="rId7" Type="http://schemas.openxmlformats.org/officeDocument/2006/relationships/tags" Target="../tags/tag54.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tags" Target="../tags/tag53.xml"/><Relationship Id="rId5" Type="http://schemas.openxmlformats.org/officeDocument/2006/relationships/tags" Target="../tags/tag52.xml"/><Relationship Id="rId10" Type="http://schemas.openxmlformats.org/officeDocument/2006/relationships/slideMaster" Target="../slideMasters/slideMaster1.xml"/><Relationship Id="rId4" Type="http://schemas.openxmlformats.org/officeDocument/2006/relationships/tags" Target="../tags/tag51.xml"/><Relationship Id="rId9" Type="http://schemas.openxmlformats.org/officeDocument/2006/relationships/tags" Target="../tags/tag56.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64.xml"/><Relationship Id="rId3" Type="http://schemas.openxmlformats.org/officeDocument/2006/relationships/tags" Target="../tags/tag59.xml"/><Relationship Id="rId7" Type="http://schemas.openxmlformats.org/officeDocument/2006/relationships/tags" Target="../tags/tag63.xm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tags" Target="../tags/tag62.xml"/><Relationship Id="rId5" Type="http://schemas.openxmlformats.org/officeDocument/2006/relationships/tags" Target="../tags/tag61.xml"/><Relationship Id="rId10" Type="http://schemas.openxmlformats.org/officeDocument/2006/relationships/slideMaster" Target="../slideMasters/slideMaster1.xml"/><Relationship Id="rId4" Type="http://schemas.openxmlformats.org/officeDocument/2006/relationships/tags" Target="../tags/tag60.xml"/><Relationship Id="rId9" Type="http://schemas.openxmlformats.org/officeDocument/2006/relationships/tags" Target="../tags/tag65.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IFX_PresentationTitle">
    <p:bg>
      <p:bgPr>
        <a:solidFill>
          <a:schemeClr val="bg1"/>
        </a:solidFill>
        <a:effectLst/>
      </p:bgPr>
    </p:bg>
    <p:spTree>
      <p:nvGrpSpPr>
        <p:cNvPr id="1" name=""/>
        <p:cNvGrpSpPr/>
        <p:nvPr/>
      </p:nvGrpSpPr>
      <p:grpSpPr>
        <a:xfrm>
          <a:off x="0" y="0"/>
          <a:ext cx="0" cy="0"/>
          <a:chOff x="0" y="0"/>
          <a:chExt cx="0" cy="0"/>
        </a:xfrm>
      </p:grpSpPr>
      <p:sp>
        <p:nvSpPr>
          <p:cNvPr id="6" name="LOGO PROTECTION" hidden="1">
            <a:extLst>
              <a:ext uri="{FF2B5EF4-FFF2-40B4-BE49-F238E27FC236}">
                <a16:creationId xmlns:a16="http://schemas.microsoft.com/office/drawing/2014/main" id="{193C101A-31DD-4FCB-8E69-ED3C115F16E0}"/>
              </a:ext>
            </a:extLst>
          </p:cNvPr>
          <p:cNvSpPr/>
          <p:nvPr>
            <p:custDataLst>
              <p:tags r:id="rId1"/>
            </p:custDataLst>
          </p:nvPr>
        </p:nvSpPr>
        <p:spPr bwMode="auto">
          <a:xfrm>
            <a:off x="7218294" y="4002910"/>
            <a:ext cx="1545538" cy="837092"/>
          </a:xfrm>
          <a:prstGeom prst="rect">
            <a:avLst/>
          </a:prstGeom>
          <a:solidFill>
            <a:schemeClr val="accent3">
              <a:alpha val="50000"/>
            </a:schemeClr>
          </a:solidFill>
          <a:ln w="9525">
            <a:noFill/>
            <a:miter lim="800000"/>
            <a:headEnd/>
            <a:tailEnd/>
          </a:ln>
        </p:spPr>
        <p:txBody>
          <a:bodyPr wrap="square" lIns="54000" tIns="54000" rIns="54000" bIns="54000" rtlCol="0" anchor="ctr"/>
          <a:lstStyle/>
          <a:p>
            <a:pPr algn="ctr" eaLnBrk="0" hangingPunct="0"/>
            <a:endParaRPr lang="en-US" sz="1200" baseline="0" noProof="0" dirty="0">
              <a:latin typeface="+mn-lt"/>
              <a:ea typeface="+mn-ea"/>
              <a:cs typeface="+mn-cs"/>
            </a:endParaRPr>
          </a:p>
        </p:txBody>
      </p:sp>
      <p:sp>
        <p:nvSpPr>
          <p:cNvPr id="8" name="Background White">
            <a:extLst>
              <a:ext uri="{FF2B5EF4-FFF2-40B4-BE49-F238E27FC236}">
                <a16:creationId xmlns:a16="http://schemas.microsoft.com/office/drawing/2014/main" id="{9FD1694A-5725-40E5-AC10-2A7A68B981E5}"/>
              </a:ext>
            </a:extLst>
          </p:cNvPr>
          <p:cNvSpPr/>
          <p:nvPr/>
        </p:nvSpPr>
        <p:spPr bwMode="auto">
          <a:xfrm>
            <a:off x="0" y="0"/>
            <a:ext cx="9144900" cy="5143500"/>
          </a:xfrm>
          <a:prstGeom prst="rect">
            <a:avLst/>
          </a:prstGeom>
          <a:solidFill>
            <a:schemeClr val="bg1"/>
          </a:solidFill>
          <a:ln w="9525">
            <a:noFill/>
            <a:miter lim="800000"/>
            <a:headEnd/>
            <a:tailEnd/>
          </a:ln>
        </p:spPr>
        <p:txBody>
          <a:bodyPr wrap="square" lIns="72000" tIns="72000" rIns="72000" bIns="72000" rtlCol="0" anchor="ctr"/>
          <a:lstStyle/>
          <a:p>
            <a:pPr algn="ctr" eaLnBrk="0" hangingPunct="0"/>
            <a:endParaRPr lang="en-US" sz="1600" baseline="0" noProof="0" dirty="0">
              <a:latin typeface="+mn-lt"/>
              <a:ea typeface="+mn-ea"/>
              <a:cs typeface="+mn-cs"/>
            </a:endParaRPr>
          </a:p>
        </p:txBody>
      </p:sp>
      <p:sp>
        <p:nvSpPr>
          <p:cNvPr id="23" name="Freeform: Shape 22">
            <a:extLst>
              <a:ext uri="{FF2B5EF4-FFF2-40B4-BE49-F238E27FC236}">
                <a16:creationId xmlns:a16="http://schemas.microsoft.com/office/drawing/2014/main" id="{4B346A59-9889-4A74-811F-F8B2A7A50914}"/>
              </a:ext>
            </a:extLst>
          </p:cNvPr>
          <p:cNvSpPr>
            <a:spLocks/>
          </p:cNvSpPr>
          <p:nvPr/>
        </p:nvSpPr>
        <p:spPr bwMode="auto">
          <a:xfrm>
            <a:off x="0" y="53"/>
            <a:ext cx="9144900" cy="3867788"/>
          </a:xfrm>
          <a:custGeom>
            <a:avLst/>
            <a:gdLst>
              <a:gd name="connsiteX0" fmla="*/ 0 w 12193200"/>
              <a:gd name="connsiteY0" fmla="*/ 3366894 h 5157050"/>
              <a:gd name="connsiteX1" fmla="*/ 2568686 w 12193200"/>
              <a:gd name="connsiteY1" fmla="*/ 4457237 h 5157050"/>
              <a:gd name="connsiteX2" fmla="*/ 2562846 w 12193200"/>
              <a:gd name="connsiteY2" fmla="*/ 4486161 h 5157050"/>
              <a:gd name="connsiteX3" fmla="*/ 2638446 w 12193200"/>
              <a:gd name="connsiteY3" fmla="*/ 4561761 h 5157050"/>
              <a:gd name="connsiteX4" fmla="*/ 2647621 w 12193200"/>
              <a:gd name="connsiteY4" fmla="*/ 4559909 h 5157050"/>
              <a:gd name="connsiteX5" fmla="*/ 2722582 w 12193200"/>
              <a:gd name="connsiteY5" fmla="*/ 5033199 h 5157050"/>
              <a:gd name="connsiteX6" fmla="*/ 0 w 12193200"/>
              <a:gd name="connsiteY6" fmla="*/ 5157050 h 5157050"/>
              <a:gd name="connsiteX7" fmla="*/ 9696957 w 12193200"/>
              <a:gd name="connsiteY7" fmla="*/ 2861253 h 5157050"/>
              <a:gd name="connsiteX8" fmla="*/ 8379344 w 12193200"/>
              <a:gd name="connsiteY8" fmla="*/ 4775870 h 5157050"/>
              <a:gd name="connsiteX9" fmla="*/ 2735348 w 12193200"/>
              <a:gd name="connsiteY9" fmla="*/ 5032618 h 5157050"/>
              <a:gd name="connsiteX10" fmla="*/ 2660080 w 12193200"/>
              <a:gd name="connsiteY10" fmla="*/ 4557394 h 5157050"/>
              <a:gd name="connsiteX11" fmla="*/ 2667873 w 12193200"/>
              <a:gd name="connsiteY11" fmla="*/ 4555820 h 5157050"/>
              <a:gd name="connsiteX12" fmla="*/ 2714046 w 12193200"/>
              <a:gd name="connsiteY12" fmla="*/ 4486161 h 5157050"/>
              <a:gd name="connsiteX13" fmla="*/ 2711582 w 12193200"/>
              <a:gd name="connsiteY13" fmla="*/ 4473954 h 5157050"/>
              <a:gd name="connsiteX14" fmla="*/ 12193200 w 12193200"/>
              <a:gd name="connsiteY14" fmla="*/ 2284950 h 5157050"/>
              <a:gd name="connsiteX15" fmla="*/ 12193200 w 12193200"/>
              <a:gd name="connsiteY15" fmla="*/ 4602376 h 5157050"/>
              <a:gd name="connsiteX16" fmla="*/ 8395259 w 12193200"/>
              <a:gd name="connsiteY16" fmla="*/ 4775146 h 5157050"/>
              <a:gd name="connsiteX17" fmla="*/ 9715286 w 12193200"/>
              <a:gd name="connsiteY17" fmla="*/ 2857021 h 5157050"/>
              <a:gd name="connsiteX18" fmla="*/ 11681447 w 12193200"/>
              <a:gd name="connsiteY18" fmla="*/ 0 h 5157050"/>
              <a:gd name="connsiteX19" fmla="*/ 12193200 w 12193200"/>
              <a:gd name="connsiteY19" fmla="*/ 0 h 5157050"/>
              <a:gd name="connsiteX20" fmla="*/ 12193200 w 12193200"/>
              <a:gd name="connsiteY20" fmla="*/ 2271916 h 5157050"/>
              <a:gd name="connsiteX21" fmla="*/ 9725950 w 12193200"/>
              <a:gd name="connsiteY21" fmla="*/ 2841525 h 5157050"/>
              <a:gd name="connsiteX22" fmla="*/ 0 w 12193200"/>
              <a:gd name="connsiteY22" fmla="*/ 0 h 5157050"/>
              <a:gd name="connsiteX23" fmla="*/ 11666031 w 12193200"/>
              <a:gd name="connsiteY23" fmla="*/ 0 h 5157050"/>
              <a:gd name="connsiteX24" fmla="*/ 9707621 w 12193200"/>
              <a:gd name="connsiteY24" fmla="*/ 2845757 h 5157050"/>
              <a:gd name="connsiteX25" fmla="*/ 2709068 w 12193200"/>
              <a:gd name="connsiteY25" fmla="*/ 4461501 h 5157050"/>
              <a:gd name="connsiteX26" fmla="*/ 2708105 w 12193200"/>
              <a:gd name="connsiteY26" fmla="*/ 4456734 h 5157050"/>
              <a:gd name="connsiteX27" fmla="*/ 2638446 w 12193200"/>
              <a:gd name="connsiteY27" fmla="*/ 4410561 h 5157050"/>
              <a:gd name="connsiteX28" fmla="*/ 2584989 w 12193200"/>
              <a:gd name="connsiteY28" fmla="*/ 4432704 h 5157050"/>
              <a:gd name="connsiteX29" fmla="*/ 2575734 w 12193200"/>
              <a:gd name="connsiteY29" fmla="*/ 4446431 h 5157050"/>
              <a:gd name="connsiteX30" fmla="*/ 0 w 12193200"/>
              <a:gd name="connsiteY30" fmla="*/ 3353098 h 5157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193200" h="5157050">
                <a:moveTo>
                  <a:pt x="0" y="3366894"/>
                </a:moveTo>
                <a:lnTo>
                  <a:pt x="2568686" y="4457237"/>
                </a:lnTo>
                <a:lnTo>
                  <a:pt x="2562846" y="4486161"/>
                </a:lnTo>
                <a:cubicBezTo>
                  <a:pt x="2562846" y="4527914"/>
                  <a:pt x="2596693" y="4561761"/>
                  <a:pt x="2638446" y="4561761"/>
                </a:cubicBezTo>
                <a:lnTo>
                  <a:pt x="2647621" y="4559909"/>
                </a:lnTo>
                <a:lnTo>
                  <a:pt x="2722582" y="5033199"/>
                </a:lnTo>
                <a:lnTo>
                  <a:pt x="0" y="5157050"/>
                </a:lnTo>
                <a:close/>
                <a:moveTo>
                  <a:pt x="9696957" y="2861253"/>
                </a:moveTo>
                <a:lnTo>
                  <a:pt x="8379344" y="4775870"/>
                </a:lnTo>
                <a:lnTo>
                  <a:pt x="2735348" y="5032618"/>
                </a:lnTo>
                <a:lnTo>
                  <a:pt x="2660080" y="4557394"/>
                </a:lnTo>
                <a:lnTo>
                  <a:pt x="2667873" y="4555820"/>
                </a:lnTo>
                <a:cubicBezTo>
                  <a:pt x="2695007" y="4544344"/>
                  <a:pt x="2714046" y="4517476"/>
                  <a:pt x="2714046" y="4486161"/>
                </a:cubicBezTo>
                <a:lnTo>
                  <a:pt x="2711582" y="4473954"/>
                </a:lnTo>
                <a:close/>
                <a:moveTo>
                  <a:pt x="12193200" y="2284950"/>
                </a:moveTo>
                <a:lnTo>
                  <a:pt x="12193200" y="4602376"/>
                </a:lnTo>
                <a:lnTo>
                  <a:pt x="8395259" y="4775146"/>
                </a:lnTo>
                <a:lnTo>
                  <a:pt x="9715286" y="2857021"/>
                </a:lnTo>
                <a:close/>
                <a:moveTo>
                  <a:pt x="11681447" y="0"/>
                </a:moveTo>
                <a:lnTo>
                  <a:pt x="12193200" y="0"/>
                </a:lnTo>
                <a:lnTo>
                  <a:pt x="12193200" y="2271916"/>
                </a:lnTo>
                <a:lnTo>
                  <a:pt x="9725950" y="2841525"/>
                </a:lnTo>
                <a:close/>
                <a:moveTo>
                  <a:pt x="0" y="0"/>
                </a:moveTo>
                <a:lnTo>
                  <a:pt x="11666031" y="0"/>
                </a:lnTo>
                <a:lnTo>
                  <a:pt x="9707621" y="2845757"/>
                </a:lnTo>
                <a:lnTo>
                  <a:pt x="2709068" y="4461501"/>
                </a:lnTo>
                <a:lnTo>
                  <a:pt x="2708105" y="4456734"/>
                </a:lnTo>
                <a:cubicBezTo>
                  <a:pt x="2696629" y="4429600"/>
                  <a:pt x="2669761" y="4410561"/>
                  <a:pt x="2638446" y="4410561"/>
                </a:cubicBezTo>
                <a:cubicBezTo>
                  <a:pt x="2617570" y="4410561"/>
                  <a:pt x="2598670" y="4419023"/>
                  <a:pt x="2584989" y="4432704"/>
                </a:cubicBezTo>
                <a:lnTo>
                  <a:pt x="2575734" y="4446431"/>
                </a:lnTo>
                <a:lnTo>
                  <a:pt x="0" y="3353098"/>
                </a:lnTo>
                <a:close/>
              </a:path>
            </a:pathLst>
          </a:custGeom>
          <a:solidFill>
            <a:schemeClr val="accent3"/>
          </a:solidFill>
          <a:ln w="9525">
            <a:noFill/>
            <a:miter lim="800000"/>
            <a:headEnd/>
            <a:tailEnd/>
          </a:ln>
        </p:spPr>
        <p:txBody>
          <a:bodyPr wrap="square" lIns="54000" tIns="54000" rIns="54000" bIns="54000" rtlCol="0" anchor="ctr">
            <a:noAutofit/>
          </a:bodyPr>
          <a:lstStyle/>
          <a:p>
            <a:pPr algn="ctr" eaLnBrk="0" hangingPunct="0"/>
            <a:endParaRPr lang="en-US" sz="1200" baseline="0" noProof="0" dirty="0">
              <a:latin typeface="+mn-lt"/>
              <a:ea typeface="+mn-ea"/>
              <a:cs typeface="+mn-cs"/>
            </a:endParaRPr>
          </a:p>
        </p:txBody>
      </p:sp>
      <p:sp>
        <p:nvSpPr>
          <p:cNvPr id="15" name="Title">
            <a:extLst>
              <a:ext uri="{FF2B5EF4-FFF2-40B4-BE49-F238E27FC236}">
                <a16:creationId xmlns:a16="http://schemas.microsoft.com/office/drawing/2014/main" id="{26638A09-FAF0-40AC-917E-C2B12C875E5A}"/>
              </a:ext>
            </a:extLst>
          </p:cNvPr>
          <p:cNvSpPr>
            <a:spLocks noGrp="1"/>
          </p:cNvSpPr>
          <p:nvPr>
            <p:ph type="ctrTitle" hasCustomPrompt="1"/>
          </p:nvPr>
        </p:nvSpPr>
        <p:spPr>
          <a:xfrm>
            <a:off x="468000" y="1385100"/>
            <a:ext cx="6210000" cy="486000"/>
          </a:xfrm>
        </p:spPr>
        <p:txBody>
          <a:bodyPr anchor="b"/>
          <a:lstStyle>
            <a:lvl1pPr algn="l">
              <a:defRPr sz="2700" baseline="0">
                <a:latin typeface="+mj-lt"/>
                <a:ea typeface="+mj-ea"/>
                <a:cs typeface="+mj-cs"/>
              </a:defRPr>
            </a:lvl1pPr>
          </a:lstStyle>
          <a:p>
            <a:r>
              <a:rPr lang="en-US" noProof="0" dirty="0"/>
              <a:t>Please type in title</a:t>
            </a:r>
          </a:p>
        </p:txBody>
      </p:sp>
      <p:sp>
        <p:nvSpPr>
          <p:cNvPr id="30" name="Subtitle"/>
          <p:cNvSpPr>
            <a:spLocks noGrp="1"/>
          </p:cNvSpPr>
          <p:nvPr>
            <p:ph type="subTitle" idx="1" hasCustomPrompt="1"/>
          </p:nvPr>
        </p:nvSpPr>
        <p:spPr>
          <a:xfrm>
            <a:off x="468000" y="4247081"/>
            <a:ext cx="6210000" cy="459000"/>
          </a:xfrm>
          <a:prstGeom prst="rect">
            <a:avLst/>
          </a:prstGeom>
        </p:spPr>
        <p:txBody>
          <a:bodyPr vert="horz" wrap="square" lIns="0" tIns="0" rIns="0" bIns="0" rtlCol="0" anchor="b" anchorCtr="0">
            <a:noAutofit/>
          </a:bodyPr>
          <a:lstStyle>
            <a:lvl1pPr marL="0" indent="0" algn="l">
              <a:spcAft>
                <a:spcPts val="0"/>
              </a:spcAft>
              <a:buNone/>
              <a:defRPr lang="en-GB" sz="1500" baseline="0" noProof="0" dirty="0">
                <a:solidFill>
                  <a:schemeClr val="tx1"/>
                </a:solidFill>
                <a:latin typeface="+mn-lt"/>
                <a:ea typeface="+mn-ea"/>
                <a:cs typeface="+mn-cs"/>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pPr lvl="0"/>
            <a:r>
              <a:rPr lang="en-US" noProof="0" dirty="0"/>
              <a:t>Author (department)</a:t>
            </a:r>
            <a:br>
              <a:rPr lang="en-US" noProof="0" dirty="0"/>
            </a:br>
            <a:r>
              <a:rPr lang="en-US" noProof="0" dirty="0"/>
              <a:t>Date</a:t>
            </a:r>
          </a:p>
        </p:txBody>
      </p:sp>
      <p:sp>
        <p:nvSpPr>
          <p:cNvPr id="9" name="empower_classification_attention_placeholder" hidden="1">
            <a:extLst>
              <a:ext uri="{FF2B5EF4-FFF2-40B4-BE49-F238E27FC236}">
                <a16:creationId xmlns:a16="http://schemas.microsoft.com/office/drawing/2014/main" id="{542ADA73-329E-4D35-A040-712B75800F88}"/>
              </a:ext>
            </a:extLst>
          </p:cNvPr>
          <p:cNvSpPr txBox="1"/>
          <p:nvPr>
            <p:custDataLst>
              <p:tags r:id="rId2"/>
            </p:custDataLst>
          </p:nvPr>
        </p:nvSpPr>
        <p:spPr bwMode="auto">
          <a:xfrm>
            <a:off x="4058850" y="4875236"/>
            <a:ext cx="1026301" cy="216694"/>
          </a:xfrm>
          <a:prstGeom prst="rect">
            <a:avLst/>
          </a:prstGeom>
          <a:noFill/>
          <a:ln w="9525">
            <a:noFill/>
            <a:miter lim="800000"/>
            <a:headEnd/>
            <a:tailEnd/>
          </a:ln>
          <a:effectLst/>
        </p:spPr>
        <p:txBody>
          <a:bodyPr wrap="none" lIns="0" tIns="0" rIns="0" bIns="0" rtlCol="0" anchor="ctr" anchorCtr="0">
            <a:noAutofit/>
          </a:bodyPr>
          <a:lstStyle/>
          <a:p>
            <a:pPr marL="0" marR="0" indent="0" algn="ctr"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900" kern="0" baseline="0" noProof="0" dirty="0">
                <a:solidFill>
                  <a:srgbClr val="E30034"/>
                </a:solidFill>
                <a:latin typeface="+mn-lt"/>
                <a:ea typeface="+mn-ea"/>
                <a:cs typeface="+mn-cs"/>
              </a:rPr>
              <a:t>Restricted</a:t>
            </a:r>
          </a:p>
        </p:txBody>
      </p:sp>
      <p:sp>
        <p:nvSpPr>
          <p:cNvPr id="10" name="empower_classification_placeholder">
            <a:extLst>
              <a:ext uri="{FF2B5EF4-FFF2-40B4-BE49-F238E27FC236}">
                <a16:creationId xmlns:a16="http://schemas.microsoft.com/office/drawing/2014/main" id="{2D16A7B9-CA23-4C66-B2AF-3682EAAE8159}"/>
              </a:ext>
            </a:extLst>
          </p:cNvPr>
          <p:cNvSpPr txBox="1"/>
          <p:nvPr>
            <p:custDataLst>
              <p:tags r:id="rId3"/>
            </p:custDataLst>
          </p:nvPr>
        </p:nvSpPr>
        <p:spPr bwMode="auto">
          <a:xfrm>
            <a:off x="4059000" y="4875236"/>
            <a:ext cx="1026000" cy="216694"/>
          </a:xfrm>
          <a:prstGeom prst="rect">
            <a:avLst/>
          </a:prstGeom>
          <a:noFill/>
          <a:ln w="9525">
            <a:noFill/>
            <a:miter lim="800000"/>
            <a:headEnd/>
            <a:tailEnd/>
          </a:ln>
          <a:effectLst/>
        </p:spPr>
        <p:txBody>
          <a:bodyPr wrap="none" lIns="0" tIns="0" rIns="0" bIns="0" rtlCol="0" anchor="ctr" anchorCtr="0">
            <a:noAutofit/>
          </a:bodyPr>
          <a:lstStyle/>
          <a:p>
            <a:pPr marL="0" marR="0" indent="0" algn="ctr"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900" kern="0" baseline="0" noProof="0" dirty="0">
                <a:solidFill>
                  <a:srgbClr val="928285"/>
                </a:solidFill>
                <a:latin typeface="+mn-lt"/>
                <a:ea typeface="+mn-ea"/>
                <a:cs typeface="+mn-cs"/>
              </a:rPr>
              <a:t>restricted</a:t>
            </a:r>
          </a:p>
        </p:txBody>
      </p:sp>
      <p:sp>
        <p:nvSpPr>
          <p:cNvPr id="11" name="empower_document_placeholder" hidden="1">
            <a:extLst>
              <a:ext uri="{FF2B5EF4-FFF2-40B4-BE49-F238E27FC236}">
                <a16:creationId xmlns:a16="http://schemas.microsoft.com/office/drawing/2014/main" id="{7FE25D73-2664-463A-AF80-DF3E4E2CB8B6}"/>
              </a:ext>
            </a:extLst>
          </p:cNvPr>
          <p:cNvSpPr txBox="1"/>
          <p:nvPr>
            <p:custDataLst>
              <p:tags r:id="rId4"/>
            </p:custDataLst>
          </p:nvPr>
        </p:nvSpPr>
        <p:spPr bwMode="auto">
          <a:xfrm>
            <a:off x="468001" y="4875236"/>
            <a:ext cx="2430065" cy="216694"/>
          </a:xfrm>
          <a:prstGeom prst="rect">
            <a:avLst/>
          </a:prstGeom>
          <a:noFill/>
          <a:ln w="9525">
            <a:noFill/>
            <a:miter lim="800000"/>
            <a:headEnd/>
            <a:tailEnd/>
          </a:ln>
          <a:effectLst/>
        </p:spPr>
        <p:txBody>
          <a:bodyPr wrap="none" lIns="0" tIns="0" rIns="0" bIns="0" rtlCol="0" anchor="ctr" anchorCtr="0">
            <a:noAutofit/>
          </a:bodyPr>
          <a:lstStyle/>
          <a:p>
            <a:pPr marL="0" marR="0" indent="0"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900" kern="0" baseline="0" noProof="0" dirty="0">
                <a:solidFill>
                  <a:srgbClr val="928285"/>
                </a:solidFill>
                <a:latin typeface="+mn-lt"/>
                <a:ea typeface="+mn-ea"/>
                <a:cs typeface="+mn-cs"/>
              </a:rPr>
              <a:t>[Owner:   Doc ID:   </a:t>
            </a:r>
            <a:r>
              <a:rPr lang="en-US" sz="900" kern="0" baseline="0" noProof="0" dirty="0" err="1">
                <a:solidFill>
                  <a:srgbClr val="928285"/>
                </a:solidFill>
                <a:latin typeface="+mn-lt"/>
                <a:ea typeface="+mn-ea"/>
                <a:cs typeface="+mn-cs"/>
              </a:rPr>
              <a:t>Vers</a:t>
            </a:r>
            <a:r>
              <a:rPr lang="en-US" sz="900" kern="0" baseline="0" noProof="0" dirty="0">
                <a:solidFill>
                  <a:srgbClr val="928285"/>
                </a:solidFill>
                <a:latin typeface="+mn-lt"/>
                <a:ea typeface="+mn-ea"/>
                <a:cs typeface="+mn-cs"/>
              </a:rPr>
              <a:t>.: ]</a:t>
            </a:r>
          </a:p>
        </p:txBody>
      </p:sp>
      <p:sp>
        <p:nvSpPr>
          <p:cNvPr id="12" name="empower_draft_placeholder" hidden="1">
            <a:extLst>
              <a:ext uri="{FF2B5EF4-FFF2-40B4-BE49-F238E27FC236}">
                <a16:creationId xmlns:a16="http://schemas.microsoft.com/office/drawing/2014/main" id="{9769B1E2-E46B-4957-AEBB-2CD1EAF09328}"/>
              </a:ext>
            </a:extLst>
          </p:cNvPr>
          <p:cNvSpPr txBox="1"/>
          <p:nvPr>
            <p:custDataLst>
              <p:tags r:id="rId5"/>
            </p:custDataLst>
          </p:nvPr>
        </p:nvSpPr>
        <p:spPr bwMode="auto">
          <a:xfrm>
            <a:off x="3262533" y="4875929"/>
            <a:ext cx="432000" cy="216000"/>
          </a:xfrm>
          <a:prstGeom prst="rect">
            <a:avLst/>
          </a:prstGeom>
          <a:noFill/>
          <a:ln w="9525">
            <a:noFill/>
            <a:miter lim="800000"/>
            <a:headEnd/>
            <a:tailEnd/>
          </a:ln>
          <a:effectLst/>
        </p:spPr>
        <p:txBody>
          <a:bodyPr wrap="none" lIns="0" tIns="0" rIns="0" bIns="0" rtlCol="0" anchor="ctr" anchorCtr="0">
            <a:noAutofit/>
          </a:bodyPr>
          <a:lstStyle/>
          <a:p>
            <a:pPr marL="0" marR="0" indent="0" algn="ctr"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900" kern="0" baseline="0" noProof="0">
                <a:solidFill>
                  <a:srgbClr val="928285"/>
                </a:solidFill>
                <a:latin typeface="+mn-lt"/>
                <a:ea typeface="+mn-ea"/>
                <a:cs typeface="+mn-cs"/>
              </a:rPr>
              <a:t>- DRAFT -</a:t>
            </a:r>
            <a:endParaRPr lang="en-US" sz="900" kern="0" baseline="0" noProof="0" dirty="0">
              <a:solidFill>
                <a:srgbClr val="928285"/>
              </a:solidFill>
              <a:latin typeface="+mn-lt"/>
              <a:ea typeface="+mn-ea"/>
              <a:cs typeface="+mn-cs"/>
            </a:endParaRPr>
          </a:p>
        </p:txBody>
      </p:sp>
      <p:grpSp>
        <p:nvGrpSpPr>
          <p:cNvPr id="7" name="Logo">
            <a:extLst>
              <a:ext uri="{FF2B5EF4-FFF2-40B4-BE49-F238E27FC236}">
                <a16:creationId xmlns:a16="http://schemas.microsoft.com/office/drawing/2014/main" id="{442953E7-0661-4596-B845-3CAECE60C379}"/>
              </a:ext>
            </a:extLst>
          </p:cNvPr>
          <p:cNvGrpSpPr/>
          <p:nvPr/>
        </p:nvGrpSpPr>
        <p:grpSpPr>
          <a:xfrm>
            <a:off x="7303767" y="4089967"/>
            <a:ext cx="1372690" cy="600323"/>
            <a:chOff x="9738355" y="5453288"/>
            <a:chExt cx="1830253" cy="800431"/>
          </a:xfrm>
        </p:grpSpPr>
        <p:sp>
          <p:nvSpPr>
            <p:cNvPr id="13" name="Freeform: Shape 12">
              <a:extLst>
                <a:ext uri="{FF2B5EF4-FFF2-40B4-BE49-F238E27FC236}">
                  <a16:creationId xmlns:a16="http://schemas.microsoft.com/office/drawing/2014/main" id="{1C766C59-49C3-4476-A96B-266E072BCA70}"/>
                </a:ext>
              </a:extLst>
            </p:cNvPr>
            <p:cNvSpPr/>
            <p:nvPr/>
          </p:nvSpPr>
          <p:spPr>
            <a:xfrm>
              <a:off x="9979381" y="5528812"/>
              <a:ext cx="1412001" cy="463475"/>
            </a:xfrm>
            <a:custGeom>
              <a:avLst/>
              <a:gdLst>
                <a:gd name="connsiteX0" fmla="*/ 1120063 w 1412001"/>
                <a:gd name="connsiteY0" fmla="*/ 463475 h 463475"/>
                <a:gd name="connsiteX1" fmla="*/ 1209643 w 1412001"/>
                <a:gd name="connsiteY1" fmla="*/ 324691 h 463475"/>
                <a:gd name="connsiteX2" fmla="*/ 1120063 w 1412001"/>
                <a:gd name="connsiteY2" fmla="*/ 189134 h 463475"/>
                <a:gd name="connsiteX3" fmla="*/ 1031773 w 1412001"/>
                <a:gd name="connsiteY3" fmla="*/ 325982 h 463475"/>
                <a:gd name="connsiteX4" fmla="*/ 1120063 w 1412001"/>
                <a:gd name="connsiteY4" fmla="*/ 463475 h 463475"/>
                <a:gd name="connsiteX5" fmla="*/ 1086552 w 1412001"/>
                <a:gd name="connsiteY5" fmla="*/ 324045 h 463475"/>
                <a:gd name="connsiteX6" fmla="*/ 1120063 w 1412001"/>
                <a:gd name="connsiteY6" fmla="*/ 235611 h 463475"/>
                <a:gd name="connsiteX7" fmla="*/ 1154864 w 1412001"/>
                <a:gd name="connsiteY7" fmla="*/ 325336 h 463475"/>
                <a:gd name="connsiteX8" fmla="*/ 1121352 w 1412001"/>
                <a:gd name="connsiteY8" fmla="*/ 418290 h 463475"/>
                <a:gd name="connsiteX9" fmla="*/ 1086552 w 1412001"/>
                <a:gd name="connsiteY9" fmla="*/ 324045 h 463475"/>
                <a:gd name="connsiteX10" fmla="*/ 921571 w 1412001"/>
                <a:gd name="connsiteY10" fmla="*/ 463475 h 463475"/>
                <a:gd name="connsiteX11" fmla="*/ 995683 w 1412001"/>
                <a:gd name="connsiteY11" fmla="*/ 428618 h 463475"/>
                <a:gd name="connsiteX12" fmla="*/ 975705 w 1412001"/>
                <a:gd name="connsiteY12" fmla="*/ 391178 h 463475"/>
                <a:gd name="connsiteX13" fmla="*/ 926082 w 1412001"/>
                <a:gd name="connsiteY13" fmla="*/ 416999 h 463475"/>
                <a:gd name="connsiteX14" fmla="*/ 889993 w 1412001"/>
                <a:gd name="connsiteY14" fmla="*/ 392469 h 463475"/>
                <a:gd name="connsiteX15" fmla="*/ 882259 w 1412001"/>
                <a:gd name="connsiteY15" fmla="*/ 346638 h 463475"/>
                <a:gd name="connsiteX16" fmla="*/ 882259 w 1412001"/>
                <a:gd name="connsiteY16" fmla="*/ 341474 h 463475"/>
                <a:gd name="connsiteX17" fmla="*/ 998261 w 1412001"/>
                <a:gd name="connsiteY17" fmla="*/ 341474 h 463475"/>
                <a:gd name="connsiteX18" fmla="*/ 998261 w 1412001"/>
                <a:gd name="connsiteY18" fmla="*/ 329855 h 463475"/>
                <a:gd name="connsiteX19" fmla="*/ 973127 w 1412001"/>
                <a:gd name="connsiteY19" fmla="*/ 216891 h 463475"/>
                <a:gd name="connsiteX20" fmla="*/ 915126 w 1412001"/>
                <a:gd name="connsiteY20" fmla="*/ 189134 h 463475"/>
                <a:gd name="connsiteX21" fmla="*/ 852614 w 1412001"/>
                <a:gd name="connsiteY21" fmla="*/ 223346 h 463475"/>
                <a:gd name="connsiteX22" fmla="*/ 828770 w 1412001"/>
                <a:gd name="connsiteY22" fmla="*/ 325982 h 463475"/>
                <a:gd name="connsiteX23" fmla="*/ 921571 w 1412001"/>
                <a:gd name="connsiteY23" fmla="*/ 463475 h 463475"/>
                <a:gd name="connsiteX24" fmla="*/ 915771 w 1412001"/>
                <a:gd name="connsiteY24" fmla="*/ 231738 h 463475"/>
                <a:gd name="connsiteX25" fmla="*/ 941549 w 1412001"/>
                <a:gd name="connsiteY25" fmla="*/ 250457 h 463475"/>
                <a:gd name="connsiteX26" fmla="*/ 947349 w 1412001"/>
                <a:gd name="connsiteY26" fmla="*/ 298871 h 463475"/>
                <a:gd name="connsiteX27" fmla="*/ 882259 w 1412001"/>
                <a:gd name="connsiteY27" fmla="*/ 298871 h 463475"/>
                <a:gd name="connsiteX28" fmla="*/ 915771 w 1412001"/>
                <a:gd name="connsiteY28" fmla="*/ 231738 h 463475"/>
                <a:gd name="connsiteX29" fmla="*/ 1252177 w 1412001"/>
                <a:gd name="connsiteY29" fmla="*/ 457020 h 463475"/>
                <a:gd name="connsiteX30" fmla="*/ 1302444 w 1412001"/>
                <a:gd name="connsiteY30" fmla="*/ 457020 h 463475"/>
                <a:gd name="connsiteX31" fmla="*/ 1302444 w 1412001"/>
                <a:gd name="connsiteY31" fmla="*/ 263368 h 463475"/>
                <a:gd name="connsiteX32" fmla="*/ 1339178 w 1412001"/>
                <a:gd name="connsiteY32" fmla="*/ 240129 h 463475"/>
                <a:gd name="connsiteX33" fmla="*/ 1355934 w 1412001"/>
                <a:gd name="connsiteY33" fmla="*/ 246584 h 463475"/>
                <a:gd name="connsiteX34" fmla="*/ 1361734 w 1412001"/>
                <a:gd name="connsiteY34" fmla="*/ 280796 h 463475"/>
                <a:gd name="connsiteX35" fmla="*/ 1361734 w 1412001"/>
                <a:gd name="connsiteY35" fmla="*/ 457020 h 463475"/>
                <a:gd name="connsiteX36" fmla="*/ 1412002 w 1412001"/>
                <a:gd name="connsiteY36" fmla="*/ 457020 h 463475"/>
                <a:gd name="connsiteX37" fmla="*/ 1412002 w 1412001"/>
                <a:gd name="connsiteY37" fmla="*/ 257558 h 463475"/>
                <a:gd name="connsiteX38" fmla="*/ 1399757 w 1412001"/>
                <a:gd name="connsiteY38" fmla="*/ 209790 h 463475"/>
                <a:gd name="connsiteX39" fmla="*/ 1358512 w 1412001"/>
                <a:gd name="connsiteY39" fmla="*/ 191071 h 463475"/>
                <a:gd name="connsiteX40" fmla="*/ 1298577 w 1412001"/>
                <a:gd name="connsiteY40" fmla="*/ 220119 h 463475"/>
                <a:gd name="connsiteX41" fmla="*/ 1292133 w 1412001"/>
                <a:gd name="connsiteY41" fmla="*/ 189134 h 463475"/>
                <a:gd name="connsiteX42" fmla="*/ 1245088 w 1412001"/>
                <a:gd name="connsiteY42" fmla="*/ 201399 h 463475"/>
                <a:gd name="connsiteX43" fmla="*/ 1251532 w 1412001"/>
                <a:gd name="connsiteY43" fmla="*/ 264659 h 463475"/>
                <a:gd name="connsiteX44" fmla="*/ 1251532 w 1412001"/>
                <a:gd name="connsiteY44" fmla="*/ 457020 h 463475"/>
                <a:gd name="connsiteX45" fmla="*/ 668300 w 1412001"/>
                <a:gd name="connsiteY45" fmla="*/ 220119 h 463475"/>
                <a:gd name="connsiteX46" fmla="*/ 661856 w 1412001"/>
                <a:gd name="connsiteY46" fmla="*/ 189134 h 463475"/>
                <a:gd name="connsiteX47" fmla="*/ 614810 w 1412001"/>
                <a:gd name="connsiteY47" fmla="*/ 201399 h 463475"/>
                <a:gd name="connsiteX48" fmla="*/ 621255 w 1412001"/>
                <a:gd name="connsiteY48" fmla="*/ 264659 h 463475"/>
                <a:gd name="connsiteX49" fmla="*/ 621255 w 1412001"/>
                <a:gd name="connsiteY49" fmla="*/ 456375 h 463475"/>
                <a:gd name="connsiteX50" fmla="*/ 671522 w 1412001"/>
                <a:gd name="connsiteY50" fmla="*/ 456375 h 463475"/>
                <a:gd name="connsiteX51" fmla="*/ 671522 w 1412001"/>
                <a:gd name="connsiteY51" fmla="*/ 262722 h 463475"/>
                <a:gd name="connsiteX52" fmla="*/ 708256 w 1412001"/>
                <a:gd name="connsiteY52" fmla="*/ 239484 h 463475"/>
                <a:gd name="connsiteX53" fmla="*/ 725012 w 1412001"/>
                <a:gd name="connsiteY53" fmla="*/ 245939 h 463475"/>
                <a:gd name="connsiteX54" fmla="*/ 730812 w 1412001"/>
                <a:gd name="connsiteY54" fmla="*/ 280151 h 463475"/>
                <a:gd name="connsiteX55" fmla="*/ 730812 w 1412001"/>
                <a:gd name="connsiteY55" fmla="*/ 456375 h 463475"/>
                <a:gd name="connsiteX56" fmla="*/ 781080 w 1412001"/>
                <a:gd name="connsiteY56" fmla="*/ 456375 h 463475"/>
                <a:gd name="connsiteX57" fmla="*/ 781080 w 1412001"/>
                <a:gd name="connsiteY57" fmla="*/ 257558 h 463475"/>
                <a:gd name="connsiteX58" fmla="*/ 768835 w 1412001"/>
                <a:gd name="connsiteY58" fmla="*/ 209790 h 463475"/>
                <a:gd name="connsiteX59" fmla="*/ 727590 w 1412001"/>
                <a:gd name="connsiteY59" fmla="*/ 191071 h 463475"/>
                <a:gd name="connsiteX60" fmla="*/ 668300 w 1412001"/>
                <a:gd name="connsiteY60" fmla="*/ 220119 h 463475"/>
                <a:gd name="connsiteX61" fmla="*/ 53490 w 1412001"/>
                <a:gd name="connsiteY61" fmla="*/ 107154 h 463475"/>
                <a:gd name="connsiteX62" fmla="*/ 106980 w 1412001"/>
                <a:gd name="connsiteY62" fmla="*/ 53577 h 463475"/>
                <a:gd name="connsiteX63" fmla="*/ 53490 w 1412001"/>
                <a:gd name="connsiteY63" fmla="*/ 0 h 463475"/>
                <a:gd name="connsiteX64" fmla="*/ 0 w 1412001"/>
                <a:gd name="connsiteY64" fmla="*/ 53577 h 463475"/>
                <a:gd name="connsiteX65" fmla="*/ 53490 w 1412001"/>
                <a:gd name="connsiteY65" fmla="*/ 107154 h 463475"/>
                <a:gd name="connsiteX66" fmla="*/ 300316 w 1412001"/>
                <a:gd name="connsiteY66" fmla="*/ 457020 h 463475"/>
                <a:gd name="connsiteX67" fmla="*/ 300316 w 1412001"/>
                <a:gd name="connsiteY67" fmla="*/ 257558 h 463475"/>
                <a:gd name="connsiteX68" fmla="*/ 288072 w 1412001"/>
                <a:gd name="connsiteY68" fmla="*/ 209790 h 463475"/>
                <a:gd name="connsiteX69" fmla="*/ 246826 w 1412001"/>
                <a:gd name="connsiteY69" fmla="*/ 191071 h 463475"/>
                <a:gd name="connsiteX70" fmla="*/ 186892 w 1412001"/>
                <a:gd name="connsiteY70" fmla="*/ 220119 h 463475"/>
                <a:gd name="connsiteX71" fmla="*/ 180447 w 1412001"/>
                <a:gd name="connsiteY71" fmla="*/ 189134 h 463475"/>
                <a:gd name="connsiteX72" fmla="*/ 134047 w 1412001"/>
                <a:gd name="connsiteY72" fmla="*/ 202044 h 463475"/>
                <a:gd name="connsiteX73" fmla="*/ 140491 w 1412001"/>
                <a:gd name="connsiteY73" fmla="*/ 265304 h 463475"/>
                <a:gd name="connsiteX74" fmla="*/ 140491 w 1412001"/>
                <a:gd name="connsiteY74" fmla="*/ 457020 h 463475"/>
                <a:gd name="connsiteX75" fmla="*/ 190759 w 1412001"/>
                <a:gd name="connsiteY75" fmla="*/ 457020 h 463475"/>
                <a:gd name="connsiteX76" fmla="*/ 190759 w 1412001"/>
                <a:gd name="connsiteY76" fmla="*/ 263368 h 463475"/>
                <a:gd name="connsiteX77" fmla="*/ 227493 w 1412001"/>
                <a:gd name="connsiteY77" fmla="*/ 240129 h 463475"/>
                <a:gd name="connsiteX78" fmla="*/ 244249 w 1412001"/>
                <a:gd name="connsiteY78" fmla="*/ 246584 h 463475"/>
                <a:gd name="connsiteX79" fmla="*/ 250049 w 1412001"/>
                <a:gd name="connsiteY79" fmla="*/ 280796 h 463475"/>
                <a:gd name="connsiteX80" fmla="*/ 250049 w 1412001"/>
                <a:gd name="connsiteY80" fmla="*/ 457020 h 463475"/>
                <a:gd name="connsiteX81" fmla="*/ 300316 w 1412001"/>
                <a:gd name="connsiteY81" fmla="*/ 457020 h 463475"/>
                <a:gd name="connsiteX82" fmla="*/ 531676 w 1412001"/>
                <a:gd name="connsiteY82" fmla="*/ 92953 h 463475"/>
                <a:gd name="connsiteX83" fmla="*/ 498164 w 1412001"/>
                <a:gd name="connsiteY83" fmla="*/ 126520 h 463475"/>
                <a:gd name="connsiteX84" fmla="*/ 531031 w 1412001"/>
                <a:gd name="connsiteY84" fmla="*/ 160086 h 463475"/>
                <a:gd name="connsiteX85" fmla="*/ 564543 w 1412001"/>
                <a:gd name="connsiteY85" fmla="*/ 126520 h 463475"/>
                <a:gd name="connsiteX86" fmla="*/ 531676 w 1412001"/>
                <a:gd name="connsiteY86" fmla="*/ 92953 h 463475"/>
                <a:gd name="connsiteX87" fmla="*/ 29645 w 1412001"/>
                <a:gd name="connsiteY87" fmla="*/ 457020 h 463475"/>
                <a:gd name="connsiteX88" fmla="*/ 79912 w 1412001"/>
                <a:gd name="connsiteY88" fmla="*/ 457020 h 463475"/>
                <a:gd name="connsiteX89" fmla="*/ 79912 w 1412001"/>
                <a:gd name="connsiteY89" fmla="*/ 142657 h 463475"/>
                <a:gd name="connsiteX90" fmla="*/ 29645 w 1412001"/>
                <a:gd name="connsiteY90" fmla="*/ 149113 h 463475"/>
                <a:gd name="connsiteX91" fmla="*/ 29645 w 1412001"/>
                <a:gd name="connsiteY91" fmla="*/ 457020 h 463475"/>
                <a:gd name="connsiteX92" fmla="*/ 440163 w 1412001"/>
                <a:gd name="connsiteY92" fmla="*/ 123938 h 463475"/>
                <a:gd name="connsiteX93" fmla="*/ 464008 w 1412001"/>
                <a:gd name="connsiteY93" fmla="*/ 131684 h 463475"/>
                <a:gd name="connsiteX94" fmla="*/ 478186 w 1412001"/>
                <a:gd name="connsiteY94" fmla="*/ 92308 h 463475"/>
                <a:gd name="connsiteX95" fmla="*/ 431141 w 1412001"/>
                <a:gd name="connsiteY95" fmla="*/ 78107 h 463475"/>
                <a:gd name="connsiteX96" fmla="*/ 392473 w 1412001"/>
                <a:gd name="connsiteY96" fmla="*/ 91017 h 463475"/>
                <a:gd name="connsiteX97" fmla="*/ 367340 w 1412001"/>
                <a:gd name="connsiteY97" fmla="*/ 160732 h 463475"/>
                <a:gd name="connsiteX98" fmla="*/ 367984 w 1412001"/>
                <a:gd name="connsiteY98" fmla="*/ 194944 h 463475"/>
                <a:gd name="connsiteX99" fmla="*/ 350584 w 1412001"/>
                <a:gd name="connsiteY99" fmla="*/ 194944 h 463475"/>
                <a:gd name="connsiteX100" fmla="*/ 350584 w 1412001"/>
                <a:gd name="connsiteY100" fmla="*/ 239484 h 463475"/>
                <a:gd name="connsiteX101" fmla="*/ 367984 w 1412001"/>
                <a:gd name="connsiteY101" fmla="*/ 239484 h 463475"/>
                <a:gd name="connsiteX102" fmla="*/ 367984 w 1412001"/>
                <a:gd name="connsiteY102" fmla="*/ 456375 h 463475"/>
                <a:gd name="connsiteX103" fmla="*/ 419540 w 1412001"/>
                <a:gd name="connsiteY103" fmla="*/ 456375 h 463475"/>
                <a:gd name="connsiteX104" fmla="*/ 419540 w 1412001"/>
                <a:gd name="connsiteY104" fmla="*/ 240129 h 463475"/>
                <a:gd name="connsiteX105" fmla="*/ 457563 w 1412001"/>
                <a:gd name="connsiteY105" fmla="*/ 240129 h 463475"/>
                <a:gd name="connsiteX106" fmla="*/ 467230 w 1412001"/>
                <a:gd name="connsiteY106" fmla="*/ 195589 h 463475"/>
                <a:gd name="connsiteX107" fmla="*/ 420185 w 1412001"/>
                <a:gd name="connsiteY107" fmla="*/ 195589 h 463475"/>
                <a:gd name="connsiteX108" fmla="*/ 420185 w 1412001"/>
                <a:gd name="connsiteY108" fmla="*/ 155568 h 463475"/>
                <a:gd name="connsiteX109" fmla="*/ 440163 w 1412001"/>
                <a:gd name="connsiteY109" fmla="*/ 123938 h 463475"/>
                <a:gd name="connsiteX110" fmla="*/ 505897 w 1412001"/>
                <a:gd name="connsiteY110" fmla="*/ 457020 h 463475"/>
                <a:gd name="connsiteX111" fmla="*/ 556809 w 1412001"/>
                <a:gd name="connsiteY111" fmla="*/ 457020 h 463475"/>
                <a:gd name="connsiteX112" fmla="*/ 556809 w 1412001"/>
                <a:gd name="connsiteY112" fmla="*/ 191071 h 463475"/>
                <a:gd name="connsiteX113" fmla="*/ 505897 w 1412001"/>
                <a:gd name="connsiteY113" fmla="*/ 197526 h 463475"/>
                <a:gd name="connsiteX114" fmla="*/ 505897 w 1412001"/>
                <a:gd name="connsiteY114" fmla="*/ 457020 h 46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1412001" h="463475">
                  <a:moveTo>
                    <a:pt x="1120063" y="463475"/>
                  </a:moveTo>
                  <a:cubicBezTo>
                    <a:pt x="1188376" y="463475"/>
                    <a:pt x="1209643" y="391178"/>
                    <a:pt x="1209643" y="324691"/>
                  </a:cubicBezTo>
                  <a:cubicBezTo>
                    <a:pt x="1209643" y="235611"/>
                    <a:pt x="1172264" y="189134"/>
                    <a:pt x="1120063" y="189134"/>
                  </a:cubicBezTo>
                  <a:cubicBezTo>
                    <a:pt x="1054329" y="189134"/>
                    <a:pt x="1031128" y="261431"/>
                    <a:pt x="1031773" y="325982"/>
                  </a:cubicBezTo>
                  <a:cubicBezTo>
                    <a:pt x="1032417" y="389887"/>
                    <a:pt x="1050462" y="463475"/>
                    <a:pt x="1120063" y="463475"/>
                  </a:cubicBezTo>
                  <a:close/>
                  <a:moveTo>
                    <a:pt x="1086552" y="324045"/>
                  </a:moveTo>
                  <a:cubicBezTo>
                    <a:pt x="1086552" y="297580"/>
                    <a:pt x="1086552" y="235611"/>
                    <a:pt x="1120063" y="235611"/>
                  </a:cubicBezTo>
                  <a:cubicBezTo>
                    <a:pt x="1156153" y="235611"/>
                    <a:pt x="1154864" y="296934"/>
                    <a:pt x="1154864" y="325336"/>
                  </a:cubicBezTo>
                  <a:cubicBezTo>
                    <a:pt x="1154864" y="352448"/>
                    <a:pt x="1154864" y="418290"/>
                    <a:pt x="1121352" y="418290"/>
                  </a:cubicBezTo>
                  <a:cubicBezTo>
                    <a:pt x="1085263" y="417644"/>
                    <a:pt x="1086552" y="351802"/>
                    <a:pt x="1086552" y="324045"/>
                  </a:cubicBezTo>
                  <a:close/>
                  <a:moveTo>
                    <a:pt x="921571" y="463475"/>
                  </a:moveTo>
                  <a:cubicBezTo>
                    <a:pt x="949283" y="463475"/>
                    <a:pt x="973127" y="452502"/>
                    <a:pt x="995683" y="428618"/>
                  </a:cubicBezTo>
                  <a:lnTo>
                    <a:pt x="975705" y="391178"/>
                  </a:lnTo>
                  <a:cubicBezTo>
                    <a:pt x="960238" y="407962"/>
                    <a:pt x="944771" y="416999"/>
                    <a:pt x="926082" y="416999"/>
                  </a:cubicBezTo>
                  <a:cubicBezTo>
                    <a:pt x="910615" y="416999"/>
                    <a:pt x="897726" y="407962"/>
                    <a:pt x="889993" y="392469"/>
                  </a:cubicBezTo>
                  <a:cubicBezTo>
                    <a:pt x="883548" y="378914"/>
                    <a:pt x="882259" y="363422"/>
                    <a:pt x="882259" y="346638"/>
                  </a:cubicBezTo>
                  <a:lnTo>
                    <a:pt x="882259" y="341474"/>
                  </a:lnTo>
                  <a:lnTo>
                    <a:pt x="998261" y="341474"/>
                  </a:lnTo>
                  <a:lnTo>
                    <a:pt x="998261" y="329855"/>
                  </a:lnTo>
                  <a:cubicBezTo>
                    <a:pt x="998261" y="272405"/>
                    <a:pt x="991172" y="240775"/>
                    <a:pt x="973127" y="216891"/>
                  </a:cubicBezTo>
                  <a:cubicBezTo>
                    <a:pt x="959594" y="198817"/>
                    <a:pt x="939616" y="189134"/>
                    <a:pt x="915126" y="189134"/>
                  </a:cubicBezTo>
                  <a:cubicBezTo>
                    <a:pt x="889348" y="189134"/>
                    <a:pt x="868081" y="200753"/>
                    <a:pt x="852614" y="223346"/>
                  </a:cubicBezTo>
                  <a:cubicBezTo>
                    <a:pt x="835859" y="247875"/>
                    <a:pt x="828770" y="280796"/>
                    <a:pt x="828770" y="325982"/>
                  </a:cubicBezTo>
                  <a:cubicBezTo>
                    <a:pt x="828125" y="412480"/>
                    <a:pt x="862281" y="463475"/>
                    <a:pt x="921571" y="463475"/>
                  </a:cubicBezTo>
                  <a:close/>
                  <a:moveTo>
                    <a:pt x="915771" y="231738"/>
                  </a:moveTo>
                  <a:cubicBezTo>
                    <a:pt x="928660" y="231738"/>
                    <a:pt x="936394" y="238838"/>
                    <a:pt x="941549" y="250457"/>
                  </a:cubicBezTo>
                  <a:cubicBezTo>
                    <a:pt x="945416" y="260786"/>
                    <a:pt x="947349" y="278214"/>
                    <a:pt x="947349" y="298871"/>
                  </a:cubicBezTo>
                  <a:lnTo>
                    <a:pt x="882259" y="298871"/>
                  </a:lnTo>
                  <a:cubicBezTo>
                    <a:pt x="882904" y="253039"/>
                    <a:pt x="892571" y="231738"/>
                    <a:pt x="915771" y="231738"/>
                  </a:cubicBezTo>
                  <a:close/>
                  <a:moveTo>
                    <a:pt x="1252177" y="457020"/>
                  </a:moveTo>
                  <a:lnTo>
                    <a:pt x="1302444" y="457020"/>
                  </a:lnTo>
                  <a:lnTo>
                    <a:pt x="1302444" y="263368"/>
                  </a:lnTo>
                  <a:cubicBezTo>
                    <a:pt x="1314689" y="248521"/>
                    <a:pt x="1328867" y="240129"/>
                    <a:pt x="1339178" y="240129"/>
                  </a:cubicBezTo>
                  <a:cubicBezTo>
                    <a:pt x="1345623" y="240129"/>
                    <a:pt x="1352067" y="241420"/>
                    <a:pt x="1355934" y="246584"/>
                  </a:cubicBezTo>
                  <a:cubicBezTo>
                    <a:pt x="1359801" y="252394"/>
                    <a:pt x="1361734" y="260786"/>
                    <a:pt x="1361734" y="280796"/>
                  </a:cubicBezTo>
                  <a:lnTo>
                    <a:pt x="1361734" y="457020"/>
                  </a:lnTo>
                  <a:lnTo>
                    <a:pt x="1412002" y="457020"/>
                  </a:lnTo>
                  <a:lnTo>
                    <a:pt x="1412002" y="257558"/>
                  </a:lnTo>
                  <a:cubicBezTo>
                    <a:pt x="1412002" y="240129"/>
                    <a:pt x="1410068" y="222701"/>
                    <a:pt x="1399757" y="209790"/>
                  </a:cubicBezTo>
                  <a:cubicBezTo>
                    <a:pt x="1390735" y="198171"/>
                    <a:pt x="1376557" y="191071"/>
                    <a:pt x="1358512" y="191071"/>
                  </a:cubicBezTo>
                  <a:cubicBezTo>
                    <a:pt x="1335311" y="191071"/>
                    <a:pt x="1311467" y="204626"/>
                    <a:pt x="1298577" y="220119"/>
                  </a:cubicBezTo>
                  <a:cubicBezTo>
                    <a:pt x="1297933" y="206563"/>
                    <a:pt x="1293422" y="193653"/>
                    <a:pt x="1292133" y="189134"/>
                  </a:cubicBezTo>
                  <a:lnTo>
                    <a:pt x="1245088" y="201399"/>
                  </a:lnTo>
                  <a:cubicBezTo>
                    <a:pt x="1247665" y="215600"/>
                    <a:pt x="1251532" y="233029"/>
                    <a:pt x="1251532" y="264659"/>
                  </a:cubicBezTo>
                  <a:lnTo>
                    <a:pt x="1251532" y="457020"/>
                  </a:lnTo>
                  <a:close/>
                  <a:moveTo>
                    <a:pt x="668300" y="220119"/>
                  </a:moveTo>
                  <a:cubicBezTo>
                    <a:pt x="667656" y="206563"/>
                    <a:pt x="663145" y="193653"/>
                    <a:pt x="661856" y="189134"/>
                  </a:cubicBezTo>
                  <a:lnTo>
                    <a:pt x="614810" y="201399"/>
                  </a:lnTo>
                  <a:cubicBezTo>
                    <a:pt x="617388" y="215600"/>
                    <a:pt x="621255" y="233029"/>
                    <a:pt x="621255" y="264659"/>
                  </a:cubicBezTo>
                  <a:lnTo>
                    <a:pt x="621255" y="456375"/>
                  </a:lnTo>
                  <a:lnTo>
                    <a:pt x="671522" y="456375"/>
                  </a:lnTo>
                  <a:lnTo>
                    <a:pt x="671522" y="262722"/>
                  </a:lnTo>
                  <a:cubicBezTo>
                    <a:pt x="683767" y="247875"/>
                    <a:pt x="697945" y="239484"/>
                    <a:pt x="708256" y="239484"/>
                  </a:cubicBezTo>
                  <a:cubicBezTo>
                    <a:pt x="714701" y="239484"/>
                    <a:pt x="721146" y="240775"/>
                    <a:pt x="725012" y="245939"/>
                  </a:cubicBezTo>
                  <a:cubicBezTo>
                    <a:pt x="728879" y="251748"/>
                    <a:pt x="730812" y="260140"/>
                    <a:pt x="730812" y="280151"/>
                  </a:cubicBezTo>
                  <a:lnTo>
                    <a:pt x="730812" y="456375"/>
                  </a:lnTo>
                  <a:lnTo>
                    <a:pt x="781080" y="456375"/>
                  </a:lnTo>
                  <a:lnTo>
                    <a:pt x="781080" y="257558"/>
                  </a:lnTo>
                  <a:cubicBezTo>
                    <a:pt x="781080" y="240129"/>
                    <a:pt x="779146" y="222701"/>
                    <a:pt x="768835" y="209790"/>
                  </a:cubicBezTo>
                  <a:cubicBezTo>
                    <a:pt x="759813" y="198171"/>
                    <a:pt x="745635" y="191071"/>
                    <a:pt x="727590" y="191071"/>
                  </a:cubicBezTo>
                  <a:cubicBezTo>
                    <a:pt x="705034" y="191071"/>
                    <a:pt x="681189" y="204626"/>
                    <a:pt x="668300" y="220119"/>
                  </a:cubicBezTo>
                  <a:close/>
                  <a:moveTo>
                    <a:pt x="53490" y="107154"/>
                  </a:moveTo>
                  <a:cubicBezTo>
                    <a:pt x="83135" y="107154"/>
                    <a:pt x="106980" y="83271"/>
                    <a:pt x="106980" y="53577"/>
                  </a:cubicBezTo>
                  <a:cubicBezTo>
                    <a:pt x="106980" y="23884"/>
                    <a:pt x="83135" y="0"/>
                    <a:pt x="53490" y="0"/>
                  </a:cubicBezTo>
                  <a:cubicBezTo>
                    <a:pt x="23845" y="0"/>
                    <a:pt x="0" y="23884"/>
                    <a:pt x="0" y="53577"/>
                  </a:cubicBezTo>
                  <a:cubicBezTo>
                    <a:pt x="0" y="83271"/>
                    <a:pt x="23845" y="107154"/>
                    <a:pt x="53490" y="107154"/>
                  </a:cubicBezTo>
                  <a:close/>
                  <a:moveTo>
                    <a:pt x="300316" y="457020"/>
                  </a:moveTo>
                  <a:lnTo>
                    <a:pt x="300316" y="257558"/>
                  </a:lnTo>
                  <a:cubicBezTo>
                    <a:pt x="300316" y="240129"/>
                    <a:pt x="298383" y="222701"/>
                    <a:pt x="288072" y="209790"/>
                  </a:cubicBezTo>
                  <a:cubicBezTo>
                    <a:pt x="279049" y="198171"/>
                    <a:pt x="264871" y="191071"/>
                    <a:pt x="246826" y="191071"/>
                  </a:cubicBezTo>
                  <a:cubicBezTo>
                    <a:pt x="223626" y="191071"/>
                    <a:pt x="199781" y="204626"/>
                    <a:pt x="186892" y="220119"/>
                  </a:cubicBezTo>
                  <a:cubicBezTo>
                    <a:pt x="186248" y="206563"/>
                    <a:pt x="181736" y="193653"/>
                    <a:pt x="180447" y="189134"/>
                  </a:cubicBezTo>
                  <a:lnTo>
                    <a:pt x="134047" y="202044"/>
                  </a:lnTo>
                  <a:cubicBezTo>
                    <a:pt x="136625" y="216245"/>
                    <a:pt x="140491" y="233674"/>
                    <a:pt x="140491" y="265304"/>
                  </a:cubicBezTo>
                  <a:lnTo>
                    <a:pt x="140491" y="457020"/>
                  </a:lnTo>
                  <a:lnTo>
                    <a:pt x="190759" y="457020"/>
                  </a:lnTo>
                  <a:lnTo>
                    <a:pt x="190759" y="263368"/>
                  </a:lnTo>
                  <a:cubicBezTo>
                    <a:pt x="203003" y="248521"/>
                    <a:pt x="217181" y="240129"/>
                    <a:pt x="227493" y="240129"/>
                  </a:cubicBezTo>
                  <a:cubicBezTo>
                    <a:pt x="233937" y="240129"/>
                    <a:pt x="240382" y="241420"/>
                    <a:pt x="244249" y="246584"/>
                  </a:cubicBezTo>
                  <a:cubicBezTo>
                    <a:pt x="248115" y="252394"/>
                    <a:pt x="250049" y="260786"/>
                    <a:pt x="250049" y="280796"/>
                  </a:cubicBezTo>
                  <a:lnTo>
                    <a:pt x="250049" y="457020"/>
                  </a:lnTo>
                  <a:lnTo>
                    <a:pt x="300316" y="457020"/>
                  </a:lnTo>
                  <a:close/>
                  <a:moveTo>
                    <a:pt x="531676" y="92953"/>
                  </a:moveTo>
                  <a:cubicBezTo>
                    <a:pt x="512986" y="92953"/>
                    <a:pt x="498164" y="107800"/>
                    <a:pt x="498164" y="126520"/>
                  </a:cubicBezTo>
                  <a:cubicBezTo>
                    <a:pt x="498164" y="145240"/>
                    <a:pt x="512986" y="160086"/>
                    <a:pt x="531031" y="160086"/>
                  </a:cubicBezTo>
                  <a:cubicBezTo>
                    <a:pt x="549720" y="160086"/>
                    <a:pt x="564543" y="145240"/>
                    <a:pt x="564543" y="126520"/>
                  </a:cubicBezTo>
                  <a:cubicBezTo>
                    <a:pt x="564543" y="107800"/>
                    <a:pt x="549720" y="92953"/>
                    <a:pt x="531676" y="92953"/>
                  </a:cubicBezTo>
                  <a:close/>
                  <a:moveTo>
                    <a:pt x="29645" y="457020"/>
                  </a:moveTo>
                  <a:lnTo>
                    <a:pt x="79912" y="457020"/>
                  </a:lnTo>
                  <a:lnTo>
                    <a:pt x="79912" y="142657"/>
                  </a:lnTo>
                  <a:lnTo>
                    <a:pt x="29645" y="149113"/>
                  </a:lnTo>
                  <a:lnTo>
                    <a:pt x="29645" y="457020"/>
                  </a:lnTo>
                  <a:close/>
                  <a:moveTo>
                    <a:pt x="440163" y="123938"/>
                  </a:moveTo>
                  <a:cubicBezTo>
                    <a:pt x="449185" y="123938"/>
                    <a:pt x="458208" y="127165"/>
                    <a:pt x="464008" y="131684"/>
                  </a:cubicBezTo>
                  <a:lnTo>
                    <a:pt x="478186" y="92308"/>
                  </a:lnTo>
                  <a:cubicBezTo>
                    <a:pt x="464652" y="82625"/>
                    <a:pt x="449830" y="78107"/>
                    <a:pt x="431141" y="78107"/>
                  </a:cubicBezTo>
                  <a:cubicBezTo>
                    <a:pt x="418252" y="78107"/>
                    <a:pt x="404718" y="81334"/>
                    <a:pt x="392473" y="91017"/>
                  </a:cubicBezTo>
                  <a:cubicBezTo>
                    <a:pt x="380229" y="101345"/>
                    <a:pt x="367340" y="122001"/>
                    <a:pt x="367340" y="160732"/>
                  </a:cubicBezTo>
                  <a:cubicBezTo>
                    <a:pt x="367340" y="177515"/>
                    <a:pt x="367984" y="194944"/>
                    <a:pt x="367984" y="194944"/>
                  </a:cubicBezTo>
                  <a:lnTo>
                    <a:pt x="350584" y="194944"/>
                  </a:lnTo>
                  <a:lnTo>
                    <a:pt x="350584" y="239484"/>
                  </a:lnTo>
                  <a:lnTo>
                    <a:pt x="367984" y="239484"/>
                  </a:lnTo>
                  <a:lnTo>
                    <a:pt x="367984" y="456375"/>
                  </a:lnTo>
                  <a:lnTo>
                    <a:pt x="419540" y="456375"/>
                  </a:lnTo>
                  <a:lnTo>
                    <a:pt x="419540" y="240129"/>
                  </a:lnTo>
                  <a:lnTo>
                    <a:pt x="457563" y="240129"/>
                  </a:lnTo>
                  <a:lnTo>
                    <a:pt x="467230" y="195589"/>
                  </a:lnTo>
                  <a:lnTo>
                    <a:pt x="420185" y="195589"/>
                  </a:lnTo>
                  <a:lnTo>
                    <a:pt x="420185" y="155568"/>
                  </a:lnTo>
                  <a:cubicBezTo>
                    <a:pt x="420185" y="136202"/>
                    <a:pt x="427918" y="123938"/>
                    <a:pt x="440163" y="123938"/>
                  </a:cubicBezTo>
                  <a:close/>
                  <a:moveTo>
                    <a:pt x="505897" y="457020"/>
                  </a:moveTo>
                  <a:lnTo>
                    <a:pt x="556809" y="457020"/>
                  </a:lnTo>
                  <a:lnTo>
                    <a:pt x="556809" y="191071"/>
                  </a:lnTo>
                  <a:lnTo>
                    <a:pt x="505897" y="197526"/>
                  </a:lnTo>
                  <a:lnTo>
                    <a:pt x="505897" y="457020"/>
                  </a:lnTo>
                  <a:close/>
                </a:path>
              </a:pathLst>
            </a:custGeom>
            <a:solidFill>
              <a:srgbClr val="005DA9"/>
            </a:solidFill>
            <a:ln w="6439" cap="flat">
              <a:noFill/>
              <a:prstDash val="solid"/>
              <a:miter/>
            </a:ln>
          </p:spPr>
          <p:txBody>
            <a:bodyPr rtlCol="0" anchor="ctr"/>
            <a:lstStyle/>
            <a:p>
              <a:endParaRPr lang="en-US" sz="1800" baseline="0" noProof="0" dirty="0">
                <a:latin typeface="+mn-lt"/>
                <a:ea typeface="+mn-ea"/>
                <a:cs typeface="+mn-cs"/>
              </a:endParaRPr>
            </a:p>
          </p:txBody>
        </p:sp>
        <p:sp>
          <p:nvSpPr>
            <p:cNvPr id="14" name="Freeform: Shape 13">
              <a:extLst>
                <a:ext uri="{FF2B5EF4-FFF2-40B4-BE49-F238E27FC236}">
                  <a16:creationId xmlns:a16="http://schemas.microsoft.com/office/drawing/2014/main" id="{6A172B81-6FC0-4237-BB10-33D4A26CF8E7}"/>
                </a:ext>
              </a:extLst>
            </p:cNvPr>
            <p:cNvSpPr/>
            <p:nvPr/>
          </p:nvSpPr>
          <p:spPr>
            <a:xfrm>
              <a:off x="9738355" y="5453433"/>
              <a:ext cx="1826386" cy="800518"/>
            </a:xfrm>
            <a:custGeom>
              <a:avLst/>
              <a:gdLst>
                <a:gd name="connsiteX0" fmla="*/ 1549915 w 1826386"/>
                <a:gd name="connsiteY0" fmla="*/ 674411 h 800518"/>
                <a:gd name="connsiteX1" fmla="*/ 970550 w 1826386"/>
                <a:gd name="connsiteY1" fmla="*/ 746708 h 800518"/>
                <a:gd name="connsiteX2" fmla="*/ 102468 w 1826386"/>
                <a:gd name="connsiteY2" fmla="*/ 396197 h 800518"/>
                <a:gd name="connsiteX3" fmla="*/ 250693 w 1826386"/>
                <a:gd name="connsiteY3" fmla="*/ 186406 h 800518"/>
                <a:gd name="connsiteX4" fmla="*/ 221693 w 1826386"/>
                <a:gd name="connsiteY4" fmla="*/ 129602 h 800518"/>
                <a:gd name="connsiteX5" fmla="*/ 0 w 1826386"/>
                <a:gd name="connsiteY5" fmla="*/ 402006 h 800518"/>
                <a:gd name="connsiteX6" fmla="*/ 975705 w 1826386"/>
                <a:gd name="connsiteY6" fmla="*/ 800285 h 800518"/>
                <a:gd name="connsiteX7" fmla="*/ 1501581 w 1826386"/>
                <a:gd name="connsiteY7" fmla="*/ 718306 h 800518"/>
                <a:gd name="connsiteX8" fmla="*/ 1826386 w 1826386"/>
                <a:gd name="connsiteY8" fmla="*/ 536272 h 800518"/>
                <a:gd name="connsiteX9" fmla="*/ 1549915 w 1826386"/>
                <a:gd name="connsiteY9" fmla="*/ 674411 h 800518"/>
                <a:gd name="connsiteX10" fmla="*/ 467875 w 1826386"/>
                <a:gd name="connsiteY10" fmla="*/ 88289 h 800518"/>
                <a:gd name="connsiteX11" fmla="*/ 550365 w 1826386"/>
                <a:gd name="connsiteY11" fmla="*/ 61823 h 800518"/>
                <a:gd name="connsiteX12" fmla="*/ 976350 w 1826386"/>
                <a:gd name="connsiteY12" fmla="*/ 3727 h 800518"/>
                <a:gd name="connsiteX13" fmla="*/ 540054 w 1826386"/>
                <a:gd name="connsiteY13" fmla="*/ 26966 h 800518"/>
                <a:gd name="connsiteX14" fmla="*/ 451763 w 1826386"/>
                <a:gd name="connsiteY14" fmla="*/ 45685 h 800518"/>
                <a:gd name="connsiteX15" fmla="*/ 416318 w 1826386"/>
                <a:gd name="connsiteY15" fmla="*/ 55368 h 800518"/>
                <a:gd name="connsiteX16" fmla="*/ 384095 w 1826386"/>
                <a:gd name="connsiteY16" fmla="*/ 64405 h 800518"/>
                <a:gd name="connsiteX17" fmla="*/ 345428 w 1826386"/>
                <a:gd name="connsiteY17" fmla="*/ 77315 h 800518"/>
                <a:gd name="connsiteX18" fmla="*/ 366695 w 1826386"/>
                <a:gd name="connsiteY18" fmla="*/ 126374 h 800518"/>
                <a:gd name="connsiteX19" fmla="*/ 467875 w 1826386"/>
                <a:gd name="connsiteY19" fmla="*/ 88289 h 800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26386" h="800518">
                  <a:moveTo>
                    <a:pt x="1549915" y="674411"/>
                  </a:moveTo>
                  <a:cubicBezTo>
                    <a:pt x="1379779" y="724761"/>
                    <a:pt x="1172909" y="746708"/>
                    <a:pt x="970550" y="746708"/>
                  </a:cubicBezTo>
                  <a:cubicBezTo>
                    <a:pt x="456919" y="746708"/>
                    <a:pt x="125669" y="595659"/>
                    <a:pt x="102468" y="396197"/>
                  </a:cubicBezTo>
                  <a:cubicBezTo>
                    <a:pt x="94090" y="321318"/>
                    <a:pt x="152736" y="248375"/>
                    <a:pt x="250693" y="186406"/>
                  </a:cubicBezTo>
                  <a:cubicBezTo>
                    <a:pt x="233293" y="173496"/>
                    <a:pt x="222337" y="152840"/>
                    <a:pt x="221693" y="129602"/>
                  </a:cubicBezTo>
                  <a:cubicBezTo>
                    <a:pt x="79912" y="204481"/>
                    <a:pt x="0" y="302598"/>
                    <a:pt x="0" y="402006"/>
                  </a:cubicBezTo>
                  <a:cubicBezTo>
                    <a:pt x="0" y="622125"/>
                    <a:pt x="392473" y="808031"/>
                    <a:pt x="975705" y="800285"/>
                  </a:cubicBezTo>
                  <a:cubicBezTo>
                    <a:pt x="1178709" y="797703"/>
                    <a:pt x="1348200" y="768655"/>
                    <a:pt x="1501581" y="718306"/>
                  </a:cubicBezTo>
                  <a:cubicBezTo>
                    <a:pt x="1683962" y="658919"/>
                    <a:pt x="1798675" y="573712"/>
                    <a:pt x="1826386" y="536272"/>
                  </a:cubicBezTo>
                  <a:cubicBezTo>
                    <a:pt x="1793519" y="565966"/>
                    <a:pt x="1715540" y="625352"/>
                    <a:pt x="1549915" y="674411"/>
                  </a:cubicBezTo>
                  <a:close/>
                  <a:moveTo>
                    <a:pt x="467875" y="88289"/>
                  </a:moveTo>
                  <a:cubicBezTo>
                    <a:pt x="502031" y="76670"/>
                    <a:pt x="550365" y="61823"/>
                    <a:pt x="550365" y="61823"/>
                  </a:cubicBezTo>
                  <a:cubicBezTo>
                    <a:pt x="686345" y="24384"/>
                    <a:pt x="836503" y="2436"/>
                    <a:pt x="976350" y="3727"/>
                  </a:cubicBezTo>
                  <a:cubicBezTo>
                    <a:pt x="815236" y="-5955"/>
                    <a:pt x="668300" y="3727"/>
                    <a:pt x="540054" y="26966"/>
                  </a:cubicBezTo>
                  <a:cubicBezTo>
                    <a:pt x="540054" y="26966"/>
                    <a:pt x="497519" y="34066"/>
                    <a:pt x="451763" y="45685"/>
                  </a:cubicBezTo>
                  <a:cubicBezTo>
                    <a:pt x="451763" y="45685"/>
                    <a:pt x="429852" y="51495"/>
                    <a:pt x="416318" y="55368"/>
                  </a:cubicBezTo>
                  <a:cubicBezTo>
                    <a:pt x="402785" y="59241"/>
                    <a:pt x="384095" y="64405"/>
                    <a:pt x="384095" y="64405"/>
                  </a:cubicBezTo>
                  <a:cubicBezTo>
                    <a:pt x="371206" y="68278"/>
                    <a:pt x="358317" y="72797"/>
                    <a:pt x="345428" y="77315"/>
                  </a:cubicBezTo>
                  <a:cubicBezTo>
                    <a:pt x="358317" y="90225"/>
                    <a:pt x="366051" y="107009"/>
                    <a:pt x="366695" y="126374"/>
                  </a:cubicBezTo>
                  <a:cubicBezTo>
                    <a:pt x="389251" y="116046"/>
                    <a:pt x="432429" y="100554"/>
                    <a:pt x="467875" y="88289"/>
                  </a:cubicBezTo>
                  <a:close/>
                </a:path>
              </a:pathLst>
            </a:custGeom>
            <a:solidFill>
              <a:srgbClr val="E30034"/>
            </a:solidFill>
            <a:ln w="6439" cap="flat">
              <a:noFill/>
              <a:prstDash val="solid"/>
              <a:miter/>
            </a:ln>
          </p:spPr>
          <p:txBody>
            <a:bodyPr rtlCol="0" anchor="ctr"/>
            <a:lstStyle/>
            <a:p>
              <a:endParaRPr lang="en-US" sz="1800" baseline="0" noProof="0" dirty="0">
                <a:latin typeface="+mn-lt"/>
                <a:ea typeface="+mn-ea"/>
                <a:cs typeface="+mn-cs"/>
              </a:endParaRPr>
            </a:p>
          </p:txBody>
        </p:sp>
      </p:grpSp>
      <p:sp>
        <p:nvSpPr>
          <p:cNvPr id="2" name="MIO_AGENDA_IGNORE_NAVIGATION" hidden="1">
            <a:extLst>
              <a:ext uri="{FF2B5EF4-FFF2-40B4-BE49-F238E27FC236}">
                <a16:creationId xmlns:a16="http://schemas.microsoft.com/office/drawing/2014/main" id="{03AF05FD-8ED3-440D-B616-18664CA13DD2}"/>
              </a:ext>
            </a:extLst>
          </p:cNvPr>
          <p:cNvSpPr/>
          <p:nvPr/>
        </p:nvSpPr>
        <p:spPr bwMode="auto">
          <a:xfrm>
            <a:off x="8874822" y="87474"/>
            <a:ext cx="162018" cy="162018"/>
          </a:xfrm>
          <a:prstGeom prst="noSmoking">
            <a:avLst/>
          </a:prstGeom>
          <a:solidFill>
            <a:schemeClr val="accent4"/>
          </a:solidFill>
          <a:ln w="9525">
            <a:noFill/>
            <a:miter lim="800000"/>
            <a:headEnd/>
            <a:tailEnd/>
          </a:ln>
        </p:spPr>
        <p:txBody>
          <a:bodyPr wrap="square" lIns="54000" tIns="54000" rIns="54000" bIns="54000" rtlCol="0" anchor="ctr"/>
          <a:lstStyle/>
          <a:p>
            <a:pPr algn="ctr" eaLnBrk="0" hangingPunct="0"/>
            <a:endParaRPr lang="en-US" sz="1200" baseline="0" noProof="0" dirty="0">
              <a:latin typeface="+mn-lt"/>
              <a:ea typeface="+mn-ea"/>
              <a:cs typeface="+mn-cs"/>
            </a:endParaRPr>
          </a:p>
        </p:txBody>
      </p:sp>
      <p:sp>
        <p:nvSpPr>
          <p:cNvPr id="16" name="MIO_AGENDA_IGNORE_CHAPTER_REFERENCE" hidden="1">
            <a:extLst>
              <a:ext uri="{FF2B5EF4-FFF2-40B4-BE49-F238E27FC236}">
                <a16:creationId xmlns:a16="http://schemas.microsoft.com/office/drawing/2014/main" id="{E0053FF2-2ADB-4CE0-850C-04ADE25DFF5B}"/>
              </a:ext>
            </a:extLst>
          </p:cNvPr>
          <p:cNvSpPr/>
          <p:nvPr/>
        </p:nvSpPr>
        <p:spPr bwMode="auto">
          <a:xfrm>
            <a:off x="8874822" y="87474"/>
            <a:ext cx="162018" cy="162018"/>
          </a:xfrm>
          <a:prstGeom prst="noSmoking">
            <a:avLst/>
          </a:prstGeom>
          <a:solidFill>
            <a:schemeClr val="accent4"/>
          </a:solidFill>
          <a:ln w="9525">
            <a:noFill/>
            <a:miter lim="800000"/>
            <a:headEnd/>
            <a:tailEnd/>
          </a:ln>
        </p:spPr>
        <p:txBody>
          <a:bodyPr wrap="square" lIns="54000" tIns="54000" rIns="54000" bIns="54000" rtlCol="0" anchor="ctr"/>
          <a:lstStyle/>
          <a:p>
            <a:pPr algn="ctr" eaLnBrk="0" hangingPunct="0"/>
            <a:endParaRPr lang="en-US" sz="1200" baseline="0" noProof="0" dirty="0">
              <a:latin typeface="+mn-lt"/>
              <a:ea typeface="+mn-ea"/>
              <a:cs typeface="+mn-cs"/>
            </a:endParaRPr>
          </a:p>
        </p:txBody>
      </p:sp>
      <p:sp>
        <p:nvSpPr>
          <p:cNvPr id="17" name="Date Placeholder 16">
            <a:extLst>
              <a:ext uri="{FF2B5EF4-FFF2-40B4-BE49-F238E27FC236}">
                <a16:creationId xmlns:a16="http://schemas.microsoft.com/office/drawing/2014/main" id="{B19EA23C-BCB4-4E72-A8B3-AFF05FD396BC}"/>
              </a:ext>
            </a:extLst>
          </p:cNvPr>
          <p:cNvSpPr>
            <a:spLocks noGrp="1"/>
          </p:cNvSpPr>
          <p:nvPr>
            <p:ph type="dt" sz="half" idx="10"/>
          </p:nvPr>
        </p:nvSpPr>
        <p:spPr/>
        <p:txBody>
          <a:bodyPr/>
          <a:lstStyle/>
          <a:p>
            <a:endParaRPr lang="en-US" b="1" dirty="0"/>
          </a:p>
        </p:txBody>
      </p:sp>
      <p:sp>
        <p:nvSpPr>
          <p:cNvPr id="18" name="Footer Placeholder 17">
            <a:extLst>
              <a:ext uri="{FF2B5EF4-FFF2-40B4-BE49-F238E27FC236}">
                <a16:creationId xmlns:a16="http://schemas.microsoft.com/office/drawing/2014/main" id="{271BB539-26D3-4B9C-9F13-4E382668BE89}"/>
              </a:ext>
            </a:extLst>
          </p:cNvPr>
          <p:cNvSpPr>
            <a:spLocks noGrp="1"/>
          </p:cNvSpPr>
          <p:nvPr>
            <p:ph type="ftr" sz="quarter" idx="11"/>
          </p:nvPr>
        </p:nvSpPr>
        <p:spPr/>
        <p:txBody>
          <a:bodyPr/>
          <a:lstStyle/>
          <a:p>
            <a:endParaRPr lang="en-US" dirty="0"/>
          </a:p>
        </p:txBody>
      </p:sp>
      <p:sp>
        <p:nvSpPr>
          <p:cNvPr id="19" name="Slide Number Placeholder 18" hidden="1">
            <a:extLst>
              <a:ext uri="{FF2B5EF4-FFF2-40B4-BE49-F238E27FC236}">
                <a16:creationId xmlns:a16="http://schemas.microsoft.com/office/drawing/2014/main" id="{970E7400-5A78-4596-8A13-DC8308CA511D}"/>
              </a:ext>
            </a:extLst>
          </p:cNvPr>
          <p:cNvSpPr>
            <a:spLocks noGrp="1"/>
          </p:cNvSpPr>
          <p:nvPr>
            <p:ph type="sldNum" sz="quarter" idx="12"/>
          </p:nvPr>
        </p:nvSpPr>
        <p:spPr/>
        <p:txBody>
          <a:bodyPr/>
          <a:lstStyle/>
          <a:p>
            <a:r>
              <a:rPr lang="en-US"/>
              <a:t> </a:t>
            </a:r>
            <a:endParaRPr lang="en-US" dirty="0"/>
          </a:p>
        </p:txBody>
      </p:sp>
      <p:sp>
        <p:nvSpPr>
          <p:cNvPr id="20" name="Freihandform 1">
            <a:extLst>
              <a:ext uri="{FF2B5EF4-FFF2-40B4-BE49-F238E27FC236}">
                <a16:creationId xmlns:a16="http://schemas.microsoft.com/office/drawing/2014/main" id="{1E1E100D-03CC-4CA6-B31C-543288CDDF6B}"/>
              </a:ext>
            </a:extLst>
          </p:cNvPr>
          <p:cNvSpPr/>
          <p:nvPr userDrawn="1"/>
        </p:nvSpPr>
        <p:spPr bwMode="auto">
          <a:xfrm>
            <a:off x="-4572" y="0"/>
            <a:ext cx="9153144" cy="3867912"/>
          </a:xfrm>
          <a:custGeom>
            <a:avLst/>
            <a:gdLst>
              <a:gd name="connsiteX0" fmla="*/ 0 w 9153144"/>
              <a:gd name="connsiteY0" fmla="*/ 3877056 h 3877056"/>
              <a:gd name="connsiteX1" fmla="*/ 0 w 9153144"/>
              <a:gd name="connsiteY1" fmla="*/ 0 h 3877056"/>
              <a:gd name="connsiteX2" fmla="*/ 9153144 w 9153144"/>
              <a:gd name="connsiteY2" fmla="*/ 0 h 3877056"/>
              <a:gd name="connsiteX3" fmla="*/ 9153144 w 9153144"/>
              <a:gd name="connsiteY3" fmla="*/ 3461004 h 3877056"/>
              <a:gd name="connsiteX4" fmla="*/ 0 w 9153144"/>
              <a:gd name="connsiteY4" fmla="*/ 3877056 h 3877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3144" h="3877056">
                <a:moveTo>
                  <a:pt x="0" y="3877056"/>
                </a:moveTo>
                <a:lnTo>
                  <a:pt x="0" y="0"/>
                </a:lnTo>
                <a:lnTo>
                  <a:pt x="9153144" y="0"/>
                </a:lnTo>
                <a:lnTo>
                  <a:pt x="9153144" y="3461004"/>
                </a:lnTo>
                <a:lnTo>
                  <a:pt x="0" y="3877056"/>
                </a:lnTo>
                <a:close/>
              </a:path>
            </a:pathLst>
          </a:custGeom>
          <a:solidFill>
            <a:schemeClr val="accent3"/>
          </a:solidFill>
          <a:ln w="9525">
            <a:noFill/>
            <a:miter lim="800000"/>
            <a:headEnd/>
            <a:tailEnd/>
          </a:ln>
        </p:spPr>
        <p:txBody>
          <a:bodyPr wrap="square" lIns="72000" tIns="72000" rIns="72000" bIns="72000" rtlCol="0" anchor="ctr"/>
          <a:lstStyle/>
          <a:p>
            <a:pPr algn="ctr" eaLnBrk="0" hangingPunct="0"/>
            <a:endParaRPr lang="de-DE" sz="1600" dirty="0">
              <a:latin typeface="+mn-lt"/>
              <a:ea typeface="Verdana" pitchFamily="34" charset="0"/>
              <a:cs typeface="Verdana" pitchFamily="34" charset="0"/>
            </a:endParaRPr>
          </a:p>
        </p:txBody>
      </p:sp>
      <p:grpSp>
        <p:nvGrpSpPr>
          <p:cNvPr id="21" name="Gruppieren 27">
            <a:extLst>
              <a:ext uri="{FF2B5EF4-FFF2-40B4-BE49-F238E27FC236}">
                <a16:creationId xmlns:a16="http://schemas.microsoft.com/office/drawing/2014/main" id="{EA0E3365-8F3D-44F7-B6F7-148D12FD5B72}"/>
              </a:ext>
            </a:extLst>
          </p:cNvPr>
          <p:cNvGrpSpPr/>
          <p:nvPr userDrawn="1"/>
        </p:nvGrpSpPr>
        <p:grpSpPr>
          <a:xfrm>
            <a:off x="-4572" y="0"/>
            <a:ext cx="9153144" cy="3795886"/>
            <a:chOff x="-4573" y="2281"/>
            <a:chExt cx="9153144" cy="5482946"/>
          </a:xfrm>
        </p:grpSpPr>
        <p:cxnSp>
          <p:nvCxnSpPr>
            <p:cNvPr id="22" name="Gerade Verbindung 30">
              <a:extLst>
                <a:ext uri="{FF2B5EF4-FFF2-40B4-BE49-F238E27FC236}">
                  <a16:creationId xmlns:a16="http://schemas.microsoft.com/office/drawing/2014/main" id="{8DC6BA33-8512-4714-8D40-068DE0A219EE}"/>
                </a:ext>
              </a:extLst>
            </p:cNvPr>
            <p:cNvCxnSpPr/>
            <p:nvPr/>
          </p:nvCxnSpPr>
          <p:spPr>
            <a:xfrm>
              <a:off x="1979712" y="4861158"/>
              <a:ext cx="72007" cy="624069"/>
            </a:xfrm>
            <a:prstGeom prst="line">
              <a:avLst/>
            </a:prstGeom>
            <a:ln w="12700">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24" name="Gerade Verbindung 31">
              <a:extLst>
                <a:ext uri="{FF2B5EF4-FFF2-40B4-BE49-F238E27FC236}">
                  <a16:creationId xmlns:a16="http://schemas.microsoft.com/office/drawing/2014/main" id="{721B110F-9D25-426D-83A5-3C7FE6BF9DFF}"/>
                </a:ext>
              </a:extLst>
            </p:cNvPr>
            <p:cNvCxnSpPr/>
            <p:nvPr/>
          </p:nvCxnSpPr>
          <p:spPr>
            <a:xfrm>
              <a:off x="-4573" y="3613021"/>
              <a:ext cx="1984284" cy="1248139"/>
            </a:xfrm>
            <a:prstGeom prst="line">
              <a:avLst/>
            </a:prstGeom>
            <a:ln w="12700">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25" name="Gerade Verbindung 32">
              <a:extLst>
                <a:ext uri="{FF2B5EF4-FFF2-40B4-BE49-F238E27FC236}">
                  <a16:creationId xmlns:a16="http://schemas.microsoft.com/office/drawing/2014/main" id="{CED1F0D2-0404-41F3-9337-19AAC3B19AA1}"/>
                </a:ext>
              </a:extLst>
            </p:cNvPr>
            <p:cNvCxnSpPr/>
            <p:nvPr/>
          </p:nvCxnSpPr>
          <p:spPr>
            <a:xfrm flipH="1">
              <a:off x="1979711" y="2589938"/>
              <a:ext cx="7168860" cy="2271220"/>
            </a:xfrm>
            <a:prstGeom prst="line">
              <a:avLst/>
            </a:prstGeom>
            <a:ln w="12700">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26" name="Ellipse 34">
              <a:extLst>
                <a:ext uri="{FF2B5EF4-FFF2-40B4-BE49-F238E27FC236}">
                  <a16:creationId xmlns:a16="http://schemas.microsoft.com/office/drawing/2014/main" id="{ECCDEDC7-A96E-4766-B396-4C6159C2471E}"/>
                </a:ext>
              </a:extLst>
            </p:cNvPr>
            <p:cNvSpPr/>
            <p:nvPr/>
          </p:nvSpPr>
          <p:spPr bwMode="auto">
            <a:xfrm>
              <a:off x="1907704" y="4757158"/>
              <a:ext cx="144016" cy="208000"/>
            </a:xfrm>
            <a:prstGeom prst="ellipse">
              <a:avLst/>
            </a:prstGeom>
            <a:solidFill>
              <a:srgbClr val="FFFFFF"/>
            </a:solidFill>
            <a:ln w="9525">
              <a:noFill/>
              <a:miter lim="800000"/>
              <a:headEnd/>
              <a:tailEnd/>
            </a:ln>
          </p:spPr>
          <p:txBody>
            <a:bodyPr wrap="square" lIns="72000" tIns="72000" rIns="72000" bIns="72000" rtlCol="0" anchor="ctr"/>
            <a:lstStyle/>
            <a:p>
              <a:pPr algn="ctr" eaLnBrk="0" hangingPunct="0"/>
              <a:endParaRPr lang="de-DE" sz="1600" dirty="0">
                <a:latin typeface="Arial" panose="020B0604020202020204" pitchFamily="34" charset="0"/>
                <a:ea typeface="Verdana" pitchFamily="34" charset="0"/>
                <a:cs typeface="Arial" panose="020B0604020202020204" pitchFamily="34" charset="0"/>
              </a:endParaRPr>
            </a:p>
          </p:txBody>
        </p:sp>
        <p:cxnSp>
          <p:nvCxnSpPr>
            <p:cNvPr id="27" name="Gerade Verbindung 35">
              <a:extLst>
                <a:ext uri="{FF2B5EF4-FFF2-40B4-BE49-F238E27FC236}">
                  <a16:creationId xmlns:a16="http://schemas.microsoft.com/office/drawing/2014/main" id="{0403E473-142C-4648-8D3E-A74078D77264}"/>
                </a:ext>
              </a:extLst>
            </p:cNvPr>
            <p:cNvCxnSpPr/>
            <p:nvPr/>
          </p:nvCxnSpPr>
          <p:spPr>
            <a:xfrm flipH="1">
              <a:off x="6243551" y="2281"/>
              <a:ext cx="2520280" cy="5182010"/>
            </a:xfrm>
            <a:prstGeom prst="line">
              <a:avLst/>
            </a:prstGeom>
            <a:ln w="12700">
              <a:solidFill>
                <a:schemeClr val="bg1"/>
              </a:solidFill>
              <a:tailEnd type="none"/>
            </a:ln>
          </p:spPr>
          <p:style>
            <a:lnRef idx="1">
              <a:schemeClr val="accent1"/>
            </a:lnRef>
            <a:fillRef idx="0">
              <a:schemeClr val="accent1"/>
            </a:fillRef>
            <a:effectRef idx="0">
              <a:schemeClr val="accent1"/>
            </a:effectRef>
            <a:fontRef idx="minor">
              <a:schemeClr val="tx1"/>
            </a:fontRef>
          </p:style>
        </p:cxnSp>
      </p:grpSp>
      <p:pic>
        <p:nvPicPr>
          <p:cNvPr id="28" name="Grafik 24">
            <a:extLst>
              <a:ext uri="{FF2B5EF4-FFF2-40B4-BE49-F238E27FC236}">
                <a16:creationId xmlns:a16="http://schemas.microsoft.com/office/drawing/2014/main" id="{B5FDDFD7-8E54-473C-A079-48336A8439E1}"/>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303766" y="4089966"/>
            <a:ext cx="1372690" cy="600324"/>
          </a:xfrm>
          <a:prstGeom prst="rect">
            <a:avLst/>
          </a:prstGeom>
        </p:spPr>
      </p:pic>
    </p:spTree>
    <p:extLst>
      <p:ext uri="{BB962C8B-B14F-4D97-AF65-F5344CB8AC3E}">
        <p14:creationId xmlns:p14="http://schemas.microsoft.com/office/powerpoint/2010/main" val="1678891678"/>
      </p:ext>
    </p:extLst>
  </p:cSld>
  <p:clrMapOvr>
    <a:masterClrMapping/>
  </p:clrMapOvr>
  <p:hf sldNum="0" hdr="0" ftr="0"/>
  <p:extLst mod="1">
    <p:ext uri="{DCECCB84-F9BA-43D5-87BE-67443E8EF086}">
      <p15:sldGuideLst xmlns:p15="http://schemas.microsoft.com/office/powerpoint/2012/main">
        <p15:guide id="1" orient="horz" pos="534" userDrawn="1">
          <p15:clr>
            <a:srgbClr val="FBAE40"/>
          </p15:clr>
        </p15:guide>
        <p15:guide id="2" pos="2226"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fourObj" preserve="1">
  <p:cSld name="IFX_Title_and_Four_Content">
    <p:spTree>
      <p:nvGrpSpPr>
        <p:cNvPr id="1" name=""/>
        <p:cNvGrpSpPr/>
        <p:nvPr/>
      </p:nvGrpSpPr>
      <p:grpSpPr>
        <a:xfrm>
          <a:off x="0" y="0"/>
          <a:ext cx="0" cy="0"/>
          <a:chOff x="0" y="0"/>
          <a:chExt cx="0" cy="0"/>
        </a:xfrm>
      </p:grpSpPr>
      <p:sp>
        <p:nvSpPr>
          <p:cNvPr id="12" name="empower_additionalText_placeholder" hidden="1">
            <a:extLst>
              <a:ext uri="{FF2B5EF4-FFF2-40B4-BE49-F238E27FC236}">
                <a16:creationId xmlns:a16="http://schemas.microsoft.com/office/drawing/2014/main" id="{8B1B7AE2-264A-4900-9F60-CC5615C90F03}"/>
              </a:ext>
            </a:extLst>
          </p:cNvPr>
          <p:cNvSpPr txBox="1"/>
          <p:nvPr>
            <p:custDataLst>
              <p:tags r:id="rId1"/>
            </p:custDataLst>
          </p:nvPr>
        </p:nvSpPr>
        <p:spPr bwMode="auto">
          <a:xfrm>
            <a:off x="1898847" y="4867006"/>
            <a:ext cx="1296000" cy="271094"/>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sz="600" noProof="0">
              <a:latin typeface="+mn-lt"/>
              <a:ea typeface="+mn-ea"/>
              <a:cs typeface="+mn-cs"/>
            </a:endParaRPr>
          </a:p>
        </p:txBody>
      </p:sp>
      <p:sp>
        <p:nvSpPr>
          <p:cNvPr id="10" name="empower_document_placeholder" hidden="1">
            <a:extLst>
              <a:ext uri="{FF2B5EF4-FFF2-40B4-BE49-F238E27FC236}">
                <a16:creationId xmlns:a16="http://schemas.microsoft.com/office/drawing/2014/main" id="{F2DD26D5-8427-4844-992F-AA5F995450F6}"/>
              </a:ext>
            </a:extLst>
          </p:cNvPr>
          <p:cNvSpPr txBox="1"/>
          <p:nvPr>
            <p:custDataLst>
              <p:tags r:id="rId2"/>
            </p:custDataLst>
          </p:nvPr>
        </p:nvSpPr>
        <p:spPr bwMode="auto">
          <a:xfrm rot="16200000">
            <a:off x="8068416" y="3720253"/>
            <a:ext cx="1944000" cy="188119"/>
          </a:xfrm>
          <a:prstGeom prst="rect">
            <a:avLst/>
          </a:prstGeom>
          <a:noFill/>
          <a:ln w="9525">
            <a:noFill/>
            <a:miter lim="800000"/>
            <a:headEnd/>
            <a:tailEnd/>
          </a:ln>
          <a:effectLst/>
        </p:spPr>
        <p:txBody>
          <a:bodyPr wrap="none" lIns="0" tIns="0" rIns="0" bIns="0" rtlCol="0" anchor="ctr" anchorCtr="0">
            <a:noAutofit/>
          </a:bodyPr>
          <a:lstStyle/>
          <a:p>
            <a:pPr marL="0" marR="0" indent="0"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525" kern="0" noProof="0">
                <a:solidFill>
                  <a:srgbClr val="928285"/>
                </a:solidFill>
                <a:latin typeface="+mn-lt"/>
                <a:ea typeface="+mn-ea"/>
                <a:cs typeface="+mn-cs"/>
              </a:rPr>
              <a:t>[Owner:   Doc ID:   Vers.: ]</a:t>
            </a:r>
          </a:p>
        </p:txBody>
      </p:sp>
      <p:sp>
        <p:nvSpPr>
          <p:cNvPr id="16" name="empower_proprietary_placeholder" hidden="1">
            <a:extLst>
              <a:ext uri="{FF2B5EF4-FFF2-40B4-BE49-F238E27FC236}">
                <a16:creationId xmlns:a16="http://schemas.microsoft.com/office/drawing/2014/main" id="{879A7BCC-64D2-4276-855E-685546620EF5}"/>
              </a:ext>
            </a:extLst>
          </p:cNvPr>
          <p:cNvSpPr txBox="1"/>
          <p:nvPr>
            <p:custDataLst>
              <p:tags r:id="rId3"/>
            </p:custDataLst>
          </p:nvPr>
        </p:nvSpPr>
        <p:spPr bwMode="auto">
          <a:xfrm>
            <a:off x="7083360" y="4867006"/>
            <a:ext cx="729000" cy="271094"/>
          </a:xfrm>
          <a:prstGeom prst="rect">
            <a:avLst/>
          </a:prstGeom>
          <a:noFill/>
          <a:ln w="9525">
            <a:noFill/>
            <a:miter lim="800000"/>
            <a:headEnd/>
            <a:tailEnd/>
          </a:ln>
          <a:effectLst/>
        </p:spPr>
        <p:txBody>
          <a:bodyPr wrap="none" lIns="0" tIns="0" rIns="0" bIns="0" rtlCol="0" anchor="ctr" anchorCtr="0">
            <a:noAutofit/>
          </a:bodyPr>
          <a:lstStyle/>
          <a:p>
            <a:pPr marL="0" marR="0" indent="0"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600" b="1" kern="0" noProof="0">
                <a:solidFill>
                  <a:srgbClr val="E30034"/>
                </a:solidFill>
                <a:latin typeface="+mn-lt"/>
                <a:ea typeface="+mn-ea"/>
                <a:cs typeface="+mn-cs"/>
              </a:rPr>
              <a:t>Infineon Proprietary</a:t>
            </a:r>
          </a:p>
        </p:txBody>
      </p:sp>
      <p:sp>
        <p:nvSpPr>
          <p:cNvPr id="18" name="empower_draft_placeholder" hidden="1">
            <a:extLst>
              <a:ext uri="{FF2B5EF4-FFF2-40B4-BE49-F238E27FC236}">
                <a16:creationId xmlns:a16="http://schemas.microsoft.com/office/drawing/2014/main" id="{B8FD1BFA-BD00-4A1A-9BEE-984BDA7A1385}"/>
              </a:ext>
            </a:extLst>
          </p:cNvPr>
          <p:cNvSpPr txBox="1"/>
          <p:nvPr>
            <p:custDataLst>
              <p:tags r:id="rId4"/>
            </p:custDataLst>
          </p:nvPr>
        </p:nvSpPr>
        <p:spPr bwMode="auto">
          <a:xfrm>
            <a:off x="6570892" y="4867006"/>
            <a:ext cx="270272" cy="271094"/>
          </a:xfrm>
          <a:prstGeom prst="rect">
            <a:avLst/>
          </a:prstGeom>
          <a:noFill/>
          <a:ln w="9525">
            <a:noFill/>
            <a:miter lim="800000"/>
            <a:headEnd/>
            <a:tailEnd/>
          </a:ln>
          <a:effectLst/>
        </p:spPr>
        <p:txBody>
          <a:bodyPr wrap="none" lIns="0" tIns="0" rIns="0" bIns="0" rtlCol="0" anchor="ctr" anchorCtr="0">
            <a:noAutofit/>
          </a:bodyPr>
          <a:lstStyle/>
          <a:p>
            <a:pPr marL="0" marR="0" indent="0" algn="l"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600" b="1" kern="0" noProof="0">
                <a:solidFill>
                  <a:srgbClr val="E30034"/>
                </a:solidFill>
                <a:latin typeface="+mn-lt"/>
                <a:ea typeface="+mn-ea"/>
                <a:cs typeface="+mn-cs"/>
              </a:rPr>
              <a:t>- DRAFT -</a:t>
            </a:r>
          </a:p>
        </p:txBody>
      </p:sp>
      <p:sp>
        <p:nvSpPr>
          <p:cNvPr id="20" name="empower_footer_placeholder">
            <a:extLst>
              <a:ext uri="{FF2B5EF4-FFF2-40B4-BE49-F238E27FC236}">
                <a16:creationId xmlns:a16="http://schemas.microsoft.com/office/drawing/2014/main" id="{C0C951CC-CB9B-43AC-8395-FB2751814E0F}"/>
              </a:ext>
            </a:extLst>
          </p:cNvPr>
          <p:cNvSpPr txBox="1"/>
          <p:nvPr>
            <p:custDataLst>
              <p:tags r:id="rId5"/>
            </p:custDataLst>
          </p:nvPr>
        </p:nvSpPr>
        <p:spPr bwMode="auto">
          <a:xfrm>
            <a:off x="3410872" y="4867006"/>
            <a:ext cx="2322257" cy="271094"/>
          </a:xfrm>
          <a:prstGeom prst="rect">
            <a:avLst/>
          </a:prstGeom>
          <a:noFill/>
          <a:ln w="9525">
            <a:noFill/>
            <a:miter lim="800000"/>
            <a:headEnd/>
            <a:tailEnd/>
          </a:ln>
          <a:effectLst/>
        </p:spPr>
        <p:txBody>
          <a:bodyPr wrap="none" lIns="0" tIns="0" rIns="0" bIns="0" rtlCol="0" anchor="ctr" anchorCtr="0">
            <a:noAutofit/>
          </a:bodyPr>
          <a:lstStyle/>
          <a:p>
            <a:pPr marL="0" marR="0" indent="0" algn="ctr" defTabSz="685800" eaLnBrk="0" fontAlgn="auto" latinLnBrk="0" hangingPunct="0">
              <a:spcBef>
                <a:spcPts val="0"/>
              </a:spcBef>
              <a:spcAft>
                <a:spcPts val="225"/>
              </a:spcAft>
              <a:buClr>
                <a:schemeClr val="accent1"/>
              </a:buClr>
              <a:buSzTx/>
              <a:buFont typeface="Arial" panose="020B0604020202020204" pitchFamily="34" charset="0"/>
              <a:buNone/>
              <a:tabLst/>
            </a:pPr>
            <a:r>
              <a:rPr lang="en-GB" sz="600" kern="0" noProof="0">
                <a:solidFill>
                  <a:srgbClr val="928285"/>
                </a:solidFill>
                <a:latin typeface="+mn-lt"/>
                <a:ea typeface="+mn-ea"/>
                <a:cs typeface="+mn-cs"/>
              </a:rPr>
              <a:t>Copyright © Infineon Technologies AG 2022. All rights reserved.</a:t>
            </a:r>
            <a:endParaRPr lang="en-US" sz="600" kern="0" noProof="0">
              <a:solidFill>
                <a:srgbClr val="928285"/>
              </a:solidFill>
              <a:latin typeface="+mn-lt"/>
              <a:ea typeface="+mn-ea"/>
              <a:cs typeface="+mn-cs"/>
            </a:endParaRPr>
          </a:p>
        </p:txBody>
      </p:sp>
      <p:sp>
        <p:nvSpPr>
          <p:cNvPr id="22" name="empower_classification_attention_placeholder" hidden="1">
            <a:extLst>
              <a:ext uri="{FF2B5EF4-FFF2-40B4-BE49-F238E27FC236}">
                <a16:creationId xmlns:a16="http://schemas.microsoft.com/office/drawing/2014/main" id="{0FDEE340-AE14-4EB2-8F0B-840A5F5E2FB9}"/>
              </a:ext>
            </a:extLst>
          </p:cNvPr>
          <p:cNvSpPr txBox="1"/>
          <p:nvPr>
            <p:custDataLst>
              <p:tags r:id="rId6"/>
            </p:custDataLst>
          </p:nvPr>
        </p:nvSpPr>
        <p:spPr bwMode="auto">
          <a:xfrm>
            <a:off x="928642" y="4867006"/>
            <a:ext cx="728891" cy="271094"/>
          </a:xfrm>
          <a:prstGeom prst="rect">
            <a:avLst/>
          </a:prstGeom>
          <a:noFill/>
          <a:ln w="9525">
            <a:noFill/>
            <a:miter lim="800000"/>
            <a:headEnd/>
            <a:tailEnd/>
          </a:ln>
          <a:effectLst/>
        </p:spPr>
        <p:txBody>
          <a:bodyPr wrap="none" lIns="0" tIns="0" rIns="0" bIns="0" rtlCol="0" anchor="ctr" anchorCtr="0">
            <a:noAutofit/>
          </a:bodyPr>
          <a:lstStyle/>
          <a:p>
            <a:pPr marL="0" marR="0" indent="0" algn="l"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600" b="1" kern="0" noProof="0">
                <a:solidFill>
                  <a:srgbClr val="E30034"/>
                </a:solidFill>
                <a:latin typeface="+mn-lt"/>
                <a:ea typeface="+mn-ea"/>
                <a:cs typeface="+mn-cs"/>
              </a:rPr>
              <a:t>Restricted</a:t>
            </a:r>
          </a:p>
        </p:txBody>
      </p:sp>
      <p:sp>
        <p:nvSpPr>
          <p:cNvPr id="24" name="empower_classification_placeholder">
            <a:extLst>
              <a:ext uri="{FF2B5EF4-FFF2-40B4-BE49-F238E27FC236}">
                <a16:creationId xmlns:a16="http://schemas.microsoft.com/office/drawing/2014/main" id="{3F4900C8-0A39-4B02-8E0A-398AAC4831BF}"/>
              </a:ext>
            </a:extLst>
          </p:cNvPr>
          <p:cNvSpPr txBox="1">
            <a:spLocks/>
          </p:cNvSpPr>
          <p:nvPr>
            <p:custDataLst>
              <p:tags r:id="rId7"/>
            </p:custDataLst>
          </p:nvPr>
        </p:nvSpPr>
        <p:spPr bwMode="auto">
          <a:xfrm>
            <a:off x="928642" y="4867006"/>
            <a:ext cx="729938" cy="271094"/>
          </a:xfrm>
          <a:prstGeom prst="rect">
            <a:avLst/>
          </a:prstGeom>
          <a:noFill/>
          <a:ln w="9525">
            <a:noFill/>
            <a:miter lim="800000"/>
            <a:headEnd/>
            <a:tailEnd/>
          </a:ln>
          <a:effectLst/>
        </p:spPr>
        <p:txBody>
          <a:bodyPr wrap="none" lIns="0" tIns="0" rIns="0" bIns="0" rtlCol="0" anchor="ctr" anchorCtr="0">
            <a:noAutofit/>
          </a:bodyPr>
          <a:lstStyle/>
          <a:p>
            <a:pPr marL="0" marR="0" indent="0" algn="l"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600" b="1" kern="0" noProof="0">
                <a:solidFill>
                  <a:srgbClr val="928285"/>
                </a:solidFill>
                <a:latin typeface="+mn-lt"/>
                <a:ea typeface="+mn-ea"/>
                <a:cs typeface="+mn-cs"/>
              </a:rPr>
              <a:t>restricted</a:t>
            </a:r>
          </a:p>
        </p:txBody>
      </p:sp>
      <p:sp>
        <p:nvSpPr>
          <p:cNvPr id="26" name="empower_date_placeholder">
            <a:extLst>
              <a:ext uri="{FF2B5EF4-FFF2-40B4-BE49-F238E27FC236}">
                <a16:creationId xmlns:a16="http://schemas.microsoft.com/office/drawing/2014/main" id="{A1158698-11CA-4310-AAEA-81BFB74C7A4D}"/>
              </a:ext>
            </a:extLst>
          </p:cNvPr>
          <p:cNvSpPr txBox="1"/>
          <p:nvPr>
            <p:custDataLst>
              <p:tags r:id="rId8"/>
            </p:custDataLst>
          </p:nvPr>
        </p:nvSpPr>
        <p:spPr bwMode="auto">
          <a:xfrm>
            <a:off x="251222" y="4867006"/>
            <a:ext cx="459000" cy="271094"/>
          </a:xfrm>
          <a:prstGeom prst="rect">
            <a:avLst/>
          </a:prstGeom>
          <a:noFill/>
          <a:ln w="9525">
            <a:noFill/>
            <a:miter lim="800000"/>
            <a:headEnd/>
            <a:tailEnd/>
          </a:ln>
          <a:effectLst/>
        </p:spPr>
        <p:txBody>
          <a:bodyPr wrap="none" lIns="0" tIns="0" rIns="0" bIns="0" rtlCol="0" anchor="ctr" anchorCtr="0">
            <a:noAutofit/>
          </a:bodyPr>
          <a:lstStyle/>
          <a:p>
            <a:pPr marL="0" marR="0" indent="0"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600" kern="0" noProof="0">
                <a:solidFill>
                  <a:srgbClr val="928285"/>
                </a:solidFill>
                <a:latin typeface="+mn-lt"/>
                <a:ea typeface="+mn-ea"/>
                <a:cs typeface="+mn-cs"/>
              </a:rPr>
              <a:t>2022-07-16</a:t>
            </a:r>
          </a:p>
        </p:txBody>
      </p:sp>
      <p:sp>
        <p:nvSpPr>
          <p:cNvPr id="7" name="Content Top Left"/>
          <p:cNvSpPr>
            <a:spLocks noGrp="1"/>
          </p:cNvSpPr>
          <p:nvPr>
            <p:ph sz="quarter" idx="13" hasCustomPrompt="1"/>
          </p:nvPr>
        </p:nvSpPr>
        <p:spPr>
          <a:xfrm>
            <a:off x="251100" y="951309"/>
            <a:ext cx="4266000" cy="1755000"/>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Top Right"/>
          <p:cNvSpPr>
            <a:spLocks noGrp="1"/>
          </p:cNvSpPr>
          <p:nvPr>
            <p:ph sz="quarter" idx="14" hasCustomPrompt="1"/>
          </p:nvPr>
        </p:nvSpPr>
        <p:spPr>
          <a:xfrm>
            <a:off x="4625099" y="951309"/>
            <a:ext cx="4266000" cy="1755000"/>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Bottom Left"/>
          <p:cNvSpPr>
            <a:spLocks noGrp="1"/>
          </p:cNvSpPr>
          <p:nvPr>
            <p:ph sz="quarter" idx="15" hasCustomPrompt="1"/>
          </p:nvPr>
        </p:nvSpPr>
        <p:spPr>
          <a:xfrm>
            <a:off x="251100" y="2895601"/>
            <a:ext cx="4266000" cy="1890713"/>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Bottom Right"/>
          <p:cNvSpPr>
            <a:spLocks noGrp="1"/>
          </p:cNvSpPr>
          <p:nvPr>
            <p:ph sz="quarter" idx="16" hasCustomPrompt="1"/>
          </p:nvPr>
        </p:nvSpPr>
        <p:spPr>
          <a:xfrm>
            <a:off x="4625099" y="2895601"/>
            <a:ext cx="4266000" cy="1890713"/>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itle">
            <a:extLst>
              <a:ext uri="{FF2B5EF4-FFF2-40B4-BE49-F238E27FC236}">
                <a16:creationId xmlns:a16="http://schemas.microsoft.com/office/drawing/2014/main" id="{74034893-5E9F-45A3-8C16-98C9F6C02B8F}"/>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4ED1F400-5A94-4F05-84F8-53C80E7C434C}"/>
              </a:ext>
            </a:extLst>
          </p:cNvPr>
          <p:cNvSpPr/>
          <p:nvPr>
            <p:custDataLst>
              <p:tags r:id="rId9"/>
            </p:custDataLst>
          </p:nvPr>
        </p:nvSpPr>
        <p:spPr bwMode="auto">
          <a:xfrm>
            <a:off x="7598463" y="1"/>
            <a:ext cx="1545538" cy="627534"/>
          </a:xfrm>
          <a:prstGeom prst="rect">
            <a:avLst/>
          </a:prstGeom>
          <a:solidFill>
            <a:schemeClr val="accent3">
              <a:alpha val="50000"/>
            </a:schemeClr>
          </a:solidFill>
          <a:ln w="9525">
            <a:noFill/>
            <a:miter lim="800000"/>
            <a:headEnd/>
            <a:tailEnd/>
          </a:ln>
        </p:spPr>
        <p:txBody>
          <a:bodyPr wrap="square" lIns="54000" tIns="54000" rIns="54000" bIns="54000" rtlCol="0" anchor="ctr"/>
          <a:lstStyle/>
          <a:p>
            <a:pPr algn="ctr" eaLnBrk="0" hangingPunct="0"/>
            <a:endParaRPr lang="en-US" sz="1200" noProof="0">
              <a:latin typeface="+mn-lt"/>
              <a:ea typeface="+mn-ea"/>
              <a:cs typeface="+mn-cs"/>
            </a:endParaRPr>
          </a:p>
        </p:txBody>
      </p:sp>
      <p:sp>
        <p:nvSpPr>
          <p:cNvPr id="2" name="Date Placeholder 1">
            <a:extLst>
              <a:ext uri="{FF2B5EF4-FFF2-40B4-BE49-F238E27FC236}">
                <a16:creationId xmlns:a16="http://schemas.microsoft.com/office/drawing/2014/main" id="{17C8E721-6FC1-4A4E-9559-945024071571}"/>
              </a:ext>
            </a:extLst>
          </p:cNvPr>
          <p:cNvSpPr>
            <a:spLocks noGrp="1"/>
          </p:cNvSpPr>
          <p:nvPr>
            <p:ph type="dt" sz="half" idx="17"/>
          </p:nvPr>
        </p:nvSpPr>
        <p:spPr/>
        <p:txBody>
          <a:bodyPr/>
          <a:lstStyle/>
          <a:p>
            <a:endParaRPr lang="en-US" b="1" dirty="0"/>
          </a:p>
        </p:txBody>
      </p:sp>
      <p:sp>
        <p:nvSpPr>
          <p:cNvPr id="14" name="Footer Placeholder 13">
            <a:extLst>
              <a:ext uri="{FF2B5EF4-FFF2-40B4-BE49-F238E27FC236}">
                <a16:creationId xmlns:a16="http://schemas.microsoft.com/office/drawing/2014/main" id="{89885E48-72F6-4042-BF62-A49ACDF10504}"/>
              </a:ext>
            </a:extLst>
          </p:cNvPr>
          <p:cNvSpPr>
            <a:spLocks noGrp="1"/>
          </p:cNvSpPr>
          <p:nvPr>
            <p:ph type="ftr" sz="quarter" idx="18"/>
          </p:nvPr>
        </p:nvSpPr>
        <p:spPr/>
        <p:txBody>
          <a:bodyPr/>
          <a:lstStyle/>
          <a:p>
            <a:endParaRPr lang="en-US" dirty="0"/>
          </a:p>
        </p:txBody>
      </p:sp>
      <p:sp>
        <p:nvSpPr>
          <p:cNvPr id="15" name="Slide Number Placeholder 14" hidden="1">
            <a:extLst>
              <a:ext uri="{FF2B5EF4-FFF2-40B4-BE49-F238E27FC236}">
                <a16:creationId xmlns:a16="http://schemas.microsoft.com/office/drawing/2014/main" id="{0242B527-F278-4C5E-9E24-C19CDFEB73B1}"/>
              </a:ext>
            </a:extLst>
          </p:cNvPr>
          <p:cNvSpPr>
            <a:spLocks noGrp="1"/>
          </p:cNvSpPr>
          <p:nvPr>
            <p:ph type="sldNum" sz="quarter" idx="19"/>
          </p:nvPr>
        </p:nvSpPr>
        <p:spPr/>
        <p:txBody>
          <a:bodyPr/>
          <a:lstStyle/>
          <a:p>
            <a:r>
              <a:rPr lang="en-US"/>
              <a:t> </a:t>
            </a:r>
            <a:endParaRPr lang="en-US" dirty="0"/>
          </a:p>
        </p:txBody>
      </p:sp>
    </p:spTree>
    <p:extLst>
      <p:ext uri="{BB962C8B-B14F-4D97-AF65-F5344CB8AC3E}">
        <p14:creationId xmlns:p14="http://schemas.microsoft.com/office/powerpoint/2010/main" val="1953424538"/>
      </p:ext>
    </p:extLst>
  </p:cSld>
  <p:clrMapOvr>
    <a:masterClrMapping/>
  </p:clrMapOvr>
  <p:hf hdr="0"/>
  <p:extLst mod="1">
    <p:ext uri="{DCECCB84-F9BA-43D5-87BE-67443E8EF086}">
      <p15:sldGuideLst xmlns:p15="http://schemas.microsoft.com/office/powerpoint/2012/main">
        <p15:guide id="1" pos="2844" userDrawn="1">
          <p15:clr>
            <a:srgbClr val="FBAE40"/>
          </p15:clr>
        </p15:guide>
        <p15:guide id="2" pos="156" userDrawn="1">
          <p15:clr>
            <a:srgbClr val="FBAE40"/>
          </p15:clr>
        </p15:guide>
        <p15:guide id="3" pos="2916" userDrawn="1">
          <p15:clr>
            <a:srgbClr val="FBAE40"/>
          </p15:clr>
        </p15:guide>
        <p15:guide id="4" pos="5604" userDrawn="1">
          <p15:clr>
            <a:srgbClr val="FBAE40"/>
          </p15:clr>
        </p15:guide>
        <p15:guide id="5" orient="horz" pos="600" userDrawn="1">
          <p15:clr>
            <a:srgbClr val="FBAE40"/>
          </p15:clr>
        </p15:guide>
        <p15:guide id="6" orient="horz" pos="3018" userDrawn="1">
          <p15:clr>
            <a:srgbClr val="FBAE40"/>
          </p15:clr>
        </p15:guide>
        <p15:guide id="7" orient="horz" pos="1704" userDrawn="1">
          <p15:clr>
            <a:srgbClr val="FBAE40"/>
          </p15:clr>
        </p15:guide>
        <p15:guide id="8" orient="horz" pos="1824"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txAndTwoObj" preserve="1">
  <p:cSld name="IFX_Row_and_Two_Columns">
    <p:spTree>
      <p:nvGrpSpPr>
        <p:cNvPr id="1" name=""/>
        <p:cNvGrpSpPr/>
        <p:nvPr/>
      </p:nvGrpSpPr>
      <p:grpSpPr>
        <a:xfrm>
          <a:off x="0" y="0"/>
          <a:ext cx="0" cy="0"/>
          <a:chOff x="0" y="0"/>
          <a:chExt cx="0" cy="0"/>
        </a:xfrm>
      </p:grpSpPr>
      <p:sp>
        <p:nvSpPr>
          <p:cNvPr id="10" name="empower_additionalText_placeholder" hidden="1">
            <a:extLst>
              <a:ext uri="{FF2B5EF4-FFF2-40B4-BE49-F238E27FC236}">
                <a16:creationId xmlns:a16="http://schemas.microsoft.com/office/drawing/2014/main" id="{ECAA0892-68E2-4E2E-9B18-4A8DC40F0E11}"/>
              </a:ext>
            </a:extLst>
          </p:cNvPr>
          <p:cNvSpPr txBox="1"/>
          <p:nvPr>
            <p:custDataLst>
              <p:tags r:id="rId1"/>
            </p:custDataLst>
          </p:nvPr>
        </p:nvSpPr>
        <p:spPr bwMode="auto">
          <a:xfrm>
            <a:off x="1898847" y="4867006"/>
            <a:ext cx="1296000" cy="271094"/>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sz="600" noProof="0">
              <a:latin typeface="+mn-lt"/>
              <a:ea typeface="+mn-ea"/>
              <a:cs typeface="+mn-cs"/>
            </a:endParaRPr>
          </a:p>
        </p:txBody>
      </p:sp>
      <p:sp>
        <p:nvSpPr>
          <p:cNvPr id="13" name="empower_document_placeholder" hidden="1">
            <a:extLst>
              <a:ext uri="{FF2B5EF4-FFF2-40B4-BE49-F238E27FC236}">
                <a16:creationId xmlns:a16="http://schemas.microsoft.com/office/drawing/2014/main" id="{D16A0514-897C-427C-A5CD-34FCB4F6BF11}"/>
              </a:ext>
            </a:extLst>
          </p:cNvPr>
          <p:cNvSpPr txBox="1"/>
          <p:nvPr>
            <p:custDataLst>
              <p:tags r:id="rId2"/>
            </p:custDataLst>
          </p:nvPr>
        </p:nvSpPr>
        <p:spPr bwMode="auto">
          <a:xfrm rot="16200000">
            <a:off x="8068416" y="3720253"/>
            <a:ext cx="1944000" cy="188119"/>
          </a:xfrm>
          <a:prstGeom prst="rect">
            <a:avLst/>
          </a:prstGeom>
          <a:noFill/>
          <a:ln w="9525">
            <a:noFill/>
            <a:miter lim="800000"/>
            <a:headEnd/>
            <a:tailEnd/>
          </a:ln>
          <a:effectLst/>
        </p:spPr>
        <p:txBody>
          <a:bodyPr wrap="none" lIns="0" tIns="0" rIns="0" bIns="0" rtlCol="0" anchor="ctr" anchorCtr="0">
            <a:noAutofit/>
          </a:bodyPr>
          <a:lstStyle/>
          <a:p>
            <a:pPr marL="0" marR="0" indent="0"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525" kern="0" noProof="0">
                <a:solidFill>
                  <a:srgbClr val="928285"/>
                </a:solidFill>
                <a:latin typeface="+mn-lt"/>
                <a:ea typeface="+mn-ea"/>
                <a:cs typeface="+mn-cs"/>
              </a:rPr>
              <a:t>[Owner:   Doc ID:   Vers.: ]</a:t>
            </a:r>
          </a:p>
        </p:txBody>
      </p:sp>
      <p:sp>
        <p:nvSpPr>
          <p:cNvPr id="15" name="empower_proprietary_placeholder" hidden="1">
            <a:extLst>
              <a:ext uri="{FF2B5EF4-FFF2-40B4-BE49-F238E27FC236}">
                <a16:creationId xmlns:a16="http://schemas.microsoft.com/office/drawing/2014/main" id="{A6FCF5E5-2935-4FDA-903C-EA43A699BD82}"/>
              </a:ext>
            </a:extLst>
          </p:cNvPr>
          <p:cNvSpPr txBox="1"/>
          <p:nvPr>
            <p:custDataLst>
              <p:tags r:id="rId3"/>
            </p:custDataLst>
          </p:nvPr>
        </p:nvSpPr>
        <p:spPr bwMode="auto">
          <a:xfrm>
            <a:off x="7083360" y="4867006"/>
            <a:ext cx="729000" cy="271094"/>
          </a:xfrm>
          <a:prstGeom prst="rect">
            <a:avLst/>
          </a:prstGeom>
          <a:noFill/>
          <a:ln w="9525">
            <a:noFill/>
            <a:miter lim="800000"/>
            <a:headEnd/>
            <a:tailEnd/>
          </a:ln>
          <a:effectLst/>
        </p:spPr>
        <p:txBody>
          <a:bodyPr wrap="none" lIns="0" tIns="0" rIns="0" bIns="0" rtlCol="0" anchor="ctr" anchorCtr="0">
            <a:noAutofit/>
          </a:bodyPr>
          <a:lstStyle/>
          <a:p>
            <a:pPr marL="0" marR="0" indent="0"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600" b="1" kern="0" noProof="0">
                <a:solidFill>
                  <a:srgbClr val="E30034"/>
                </a:solidFill>
                <a:latin typeface="+mn-lt"/>
                <a:ea typeface="+mn-ea"/>
                <a:cs typeface="+mn-cs"/>
              </a:rPr>
              <a:t>Infineon Proprietary</a:t>
            </a:r>
          </a:p>
        </p:txBody>
      </p:sp>
      <p:sp>
        <p:nvSpPr>
          <p:cNvPr id="17" name="empower_draft_placeholder" hidden="1">
            <a:extLst>
              <a:ext uri="{FF2B5EF4-FFF2-40B4-BE49-F238E27FC236}">
                <a16:creationId xmlns:a16="http://schemas.microsoft.com/office/drawing/2014/main" id="{115A00C6-A501-466D-A34B-23C1071DA39E}"/>
              </a:ext>
            </a:extLst>
          </p:cNvPr>
          <p:cNvSpPr txBox="1"/>
          <p:nvPr>
            <p:custDataLst>
              <p:tags r:id="rId4"/>
            </p:custDataLst>
          </p:nvPr>
        </p:nvSpPr>
        <p:spPr bwMode="auto">
          <a:xfrm>
            <a:off x="6570892" y="4867006"/>
            <a:ext cx="270272" cy="271094"/>
          </a:xfrm>
          <a:prstGeom prst="rect">
            <a:avLst/>
          </a:prstGeom>
          <a:noFill/>
          <a:ln w="9525">
            <a:noFill/>
            <a:miter lim="800000"/>
            <a:headEnd/>
            <a:tailEnd/>
          </a:ln>
          <a:effectLst/>
        </p:spPr>
        <p:txBody>
          <a:bodyPr wrap="none" lIns="0" tIns="0" rIns="0" bIns="0" rtlCol="0" anchor="ctr" anchorCtr="0">
            <a:noAutofit/>
          </a:bodyPr>
          <a:lstStyle/>
          <a:p>
            <a:pPr marL="0" marR="0" indent="0" algn="l"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600" b="1" kern="0" noProof="0">
                <a:solidFill>
                  <a:srgbClr val="E30034"/>
                </a:solidFill>
                <a:latin typeface="+mn-lt"/>
                <a:ea typeface="+mn-ea"/>
                <a:cs typeface="+mn-cs"/>
              </a:rPr>
              <a:t>- DRAFT -</a:t>
            </a:r>
          </a:p>
        </p:txBody>
      </p:sp>
      <p:sp>
        <p:nvSpPr>
          <p:cNvPr id="19" name="empower_footer_placeholder">
            <a:extLst>
              <a:ext uri="{FF2B5EF4-FFF2-40B4-BE49-F238E27FC236}">
                <a16:creationId xmlns:a16="http://schemas.microsoft.com/office/drawing/2014/main" id="{0C8DD3BC-73D2-4101-B037-359F1B42B434}"/>
              </a:ext>
            </a:extLst>
          </p:cNvPr>
          <p:cNvSpPr txBox="1"/>
          <p:nvPr>
            <p:custDataLst>
              <p:tags r:id="rId5"/>
            </p:custDataLst>
          </p:nvPr>
        </p:nvSpPr>
        <p:spPr bwMode="auto">
          <a:xfrm>
            <a:off x="3410872" y="4867006"/>
            <a:ext cx="2322257" cy="271094"/>
          </a:xfrm>
          <a:prstGeom prst="rect">
            <a:avLst/>
          </a:prstGeom>
          <a:noFill/>
          <a:ln w="9525">
            <a:noFill/>
            <a:miter lim="800000"/>
            <a:headEnd/>
            <a:tailEnd/>
          </a:ln>
          <a:effectLst/>
        </p:spPr>
        <p:txBody>
          <a:bodyPr wrap="none" lIns="0" tIns="0" rIns="0" bIns="0" rtlCol="0" anchor="ctr" anchorCtr="0">
            <a:noAutofit/>
          </a:bodyPr>
          <a:lstStyle/>
          <a:p>
            <a:pPr marL="0" marR="0" indent="0" algn="ctr" defTabSz="685800" eaLnBrk="0" fontAlgn="auto" latinLnBrk="0" hangingPunct="0">
              <a:spcBef>
                <a:spcPts val="0"/>
              </a:spcBef>
              <a:spcAft>
                <a:spcPts val="225"/>
              </a:spcAft>
              <a:buClr>
                <a:schemeClr val="accent1"/>
              </a:buClr>
              <a:buSzTx/>
              <a:buFont typeface="Arial" panose="020B0604020202020204" pitchFamily="34" charset="0"/>
              <a:buNone/>
              <a:tabLst/>
            </a:pPr>
            <a:r>
              <a:rPr lang="en-GB" sz="600" kern="0" noProof="0">
                <a:solidFill>
                  <a:srgbClr val="928285"/>
                </a:solidFill>
                <a:latin typeface="+mn-lt"/>
                <a:ea typeface="+mn-ea"/>
                <a:cs typeface="+mn-cs"/>
              </a:rPr>
              <a:t>Copyright © Infineon Technologies AG 2022. All rights reserved.</a:t>
            </a:r>
            <a:endParaRPr lang="en-US" sz="600" kern="0" noProof="0">
              <a:solidFill>
                <a:srgbClr val="928285"/>
              </a:solidFill>
              <a:latin typeface="+mn-lt"/>
              <a:ea typeface="+mn-ea"/>
              <a:cs typeface="+mn-cs"/>
            </a:endParaRPr>
          </a:p>
        </p:txBody>
      </p:sp>
      <p:sp>
        <p:nvSpPr>
          <p:cNvPr id="21" name="empower_classification_attention_placeholder" hidden="1">
            <a:extLst>
              <a:ext uri="{FF2B5EF4-FFF2-40B4-BE49-F238E27FC236}">
                <a16:creationId xmlns:a16="http://schemas.microsoft.com/office/drawing/2014/main" id="{D39CEC28-75A6-43F3-9DE9-2436F3F4D9C6}"/>
              </a:ext>
            </a:extLst>
          </p:cNvPr>
          <p:cNvSpPr txBox="1">
            <a:spLocks/>
          </p:cNvSpPr>
          <p:nvPr>
            <p:custDataLst>
              <p:tags r:id="rId6"/>
            </p:custDataLst>
          </p:nvPr>
        </p:nvSpPr>
        <p:spPr bwMode="auto">
          <a:xfrm>
            <a:off x="928642" y="4867006"/>
            <a:ext cx="728891" cy="271094"/>
          </a:xfrm>
          <a:prstGeom prst="rect">
            <a:avLst/>
          </a:prstGeom>
          <a:noFill/>
          <a:ln w="9525">
            <a:noFill/>
            <a:miter lim="800000"/>
            <a:headEnd/>
            <a:tailEnd/>
          </a:ln>
          <a:effectLst/>
        </p:spPr>
        <p:txBody>
          <a:bodyPr wrap="none" lIns="0" tIns="0" rIns="0" bIns="0" rtlCol="0" anchor="ctr" anchorCtr="0">
            <a:noAutofit/>
          </a:bodyPr>
          <a:lstStyle/>
          <a:p>
            <a:pPr marL="0" marR="0" indent="0" algn="l"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600" b="1" kern="0" noProof="0">
                <a:solidFill>
                  <a:srgbClr val="E30034"/>
                </a:solidFill>
                <a:latin typeface="+mn-lt"/>
                <a:ea typeface="+mn-ea"/>
                <a:cs typeface="+mn-cs"/>
              </a:rPr>
              <a:t>Restricted</a:t>
            </a:r>
          </a:p>
        </p:txBody>
      </p:sp>
      <p:sp>
        <p:nvSpPr>
          <p:cNvPr id="23" name="empower_classification_placeholder">
            <a:extLst>
              <a:ext uri="{FF2B5EF4-FFF2-40B4-BE49-F238E27FC236}">
                <a16:creationId xmlns:a16="http://schemas.microsoft.com/office/drawing/2014/main" id="{FC21F178-EFAA-49DE-A35E-72E2C0CA3B0B}"/>
              </a:ext>
            </a:extLst>
          </p:cNvPr>
          <p:cNvSpPr txBox="1">
            <a:spLocks/>
          </p:cNvSpPr>
          <p:nvPr>
            <p:custDataLst>
              <p:tags r:id="rId7"/>
            </p:custDataLst>
          </p:nvPr>
        </p:nvSpPr>
        <p:spPr bwMode="auto">
          <a:xfrm>
            <a:off x="928642" y="4867006"/>
            <a:ext cx="729938" cy="271094"/>
          </a:xfrm>
          <a:prstGeom prst="rect">
            <a:avLst/>
          </a:prstGeom>
          <a:noFill/>
          <a:ln w="9525">
            <a:noFill/>
            <a:miter lim="800000"/>
            <a:headEnd/>
            <a:tailEnd/>
          </a:ln>
          <a:effectLst/>
        </p:spPr>
        <p:txBody>
          <a:bodyPr wrap="none" lIns="0" tIns="0" rIns="0" bIns="0" rtlCol="0" anchor="ctr" anchorCtr="0">
            <a:noAutofit/>
          </a:bodyPr>
          <a:lstStyle/>
          <a:p>
            <a:pPr marL="0" marR="0" indent="0" algn="l"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600" b="1" kern="0" noProof="0">
                <a:solidFill>
                  <a:srgbClr val="928285"/>
                </a:solidFill>
                <a:latin typeface="+mn-lt"/>
                <a:ea typeface="+mn-ea"/>
                <a:cs typeface="+mn-cs"/>
              </a:rPr>
              <a:t>restricted</a:t>
            </a:r>
          </a:p>
        </p:txBody>
      </p:sp>
      <p:sp>
        <p:nvSpPr>
          <p:cNvPr id="25" name="empower_date_placeholder">
            <a:extLst>
              <a:ext uri="{FF2B5EF4-FFF2-40B4-BE49-F238E27FC236}">
                <a16:creationId xmlns:a16="http://schemas.microsoft.com/office/drawing/2014/main" id="{43B2B732-8EC3-4F44-986D-B5DAC6EA77C1}"/>
              </a:ext>
            </a:extLst>
          </p:cNvPr>
          <p:cNvSpPr txBox="1"/>
          <p:nvPr>
            <p:custDataLst>
              <p:tags r:id="rId8"/>
            </p:custDataLst>
          </p:nvPr>
        </p:nvSpPr>
        <p:spPr bwMode="auto">
          <a:xfrm>
            <a:off x="251222" y="4867006"/>
            <a:ext cx="459000" cy="271094"/>
          </a:xfrm>
          <a:prstGeom prst="rect">
            <a:avLst/>
          </a:prstGeom>
          <a:noFill/>
          <a:ln w="9525">
            <a:noFill/>
            <a:miter lim="800000"/>
            <a:headEnd/>
            <a:tailEnd/>
          </a:ln>
          <a:effectLst/>
        </p:spPr>
        <p:txBody>
          <a:bodyPr wrap="none" lIns="0" tIns="0" rIns="0" bIns="0" rtlCol="0" anchor="ctr" anchorCtr="0">
            <a:noAutofit/>
          </a:bodyPr>
          <a:lstStyle/>
          <a:p>
            <a:pPr marL="0" marR="0" indent="0"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600" kern="0" noProof="0">
                <a:solidFill>
                  <a:srgbClr val="928285"/>
                </a:solidFill>
                <a:latin typeface="+mn-lt"/>
                <a:ea typeface="+mn-ea"/>
                <a:cs typeface="+mn-cs"/>
              </a:rPr>
              <a:t>2022-07-16</a:t>
            </a:r>
          </a:p>
        </p:txBody>
      </p:sp>
      <p:sp>
        <p:nvSpPr>
          <p:cNvPr id="7" name="Content Top"/>
          <p:cNvSpPr>
            <a:spLocks noGrp="1"/>
          </p:cNvSpPr>
          <p:nvPr>
            <p:ph sz="quarter" idx="13" hasCustomPrompt="1"/>
          </p:nvPr>
        </p:nvSpPr>
        <p:spPr>
          <a:xfrm>
            <a:off x="251100" y="951309"/>
            <a:ext cx="8640000" cy="1755000"/>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Bottom Left"/>
          <p:cNvSpPr>
            <a:spLocks noGrp="1"/>
          </p:cNvSpPr>
          <p:nvPr>
            <p:ph sz="quarter" idx="14" hasCustomPrompt="1"/>
          </p:nvPr>
        </p:nvSpPr>
        <p:spPr>
          <a:xfrm>
            <a:off x="251100" y="2895601"/>
            <a:ext cx="4266000" cy="1890713"/>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Bottom Right"/>
          <p:cNvSpPr>
            <a:spLocks noGrp="1"/>
          </p:cNvSpPr>
          <p:nvPr>
            <p:ph sz="quarter" idx="15" hasCustomPrompt="1"/>
          </p:nvPr>
        </p:nvSpPr>
        <p:spPr>
          <a:xfrm>
            <a:off x="4625100" y="2895601"/>
            <a:ext cx="4266000" cy="1890713"/>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itle">
            <a:extLst>
              <a:ext uri="{FF2B5EF4-FFF2-40B4-BE49-F238E27FC236}">
                <a16:creationId xmlns:a16="http://schemas.microsoft.com/office/drawing/2014/main" id="{3ADACDEE-D42E-4EEF-8504-614B0FC9EF75}"/>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9F595BB6-F050-434C-AF4B-533D75C5E5D3}"/>
              </a:ext>
            </a:extLst>
          </p:cNvPr>
          <p:cNvSpPr/>
          <p:nvPr>
            <p:custDataLst>
              <p:tags r:id="rId9"/>
            </p:custDataLst>
          </p:nvPr>
        </p:nvSpPr>
        <p:spPr bwMode="auto">
          <a:xfrm>
            <a:off x="7598463" y="1"/>
            <a:ext cx="1545538" cy="627534"/>
          </a:xfrm>
          <a:prstGeom prst="rect">
            <a:avLst/>
          </a:prstGeom>
          <a:solidFill>
            <a:schemeClr val="accent3">
              <a:alpha val="50000"/>
            </a:schemeClr>
          </a:solidFill>
          <a:ln w="9525">
            <a:noFill/>
            <a:miter lim="800000"/>
            <a:headEnd/>
            <a:tailEnd/>
          </a:ln>
        </p:spPr>
        <p:txBody>
          <a:bodyPr wrap="square" lIns="54000" tIns="54000" rIns="54000" bIns="54000" rtlCol="0" anchor="ctr"/>
          <a:lstStyle/>
          <a:p>
            <a:pPr algn="ctr" eaLnBrk="0" hangingPunct="0"/>
            <a:endParaRPr lang="en-US" sz="1200" noProof="0">
              <a:latin typeface="+mn-lt"/>
              <a:ea typeface="+mn-ea"/>
              <a:cs typeface="+mn-cs"/>
            </a:endParaRPr>
          </a:p>
        </p:txBody>
      </p:sp>
      <p:sp>
        <p:nvSpPr>
          <p:cNvPr id="2" name="Date Placeholder 1">
            <a:extLst>
              <a:ext uri="{FF2B5EF4-FFF2-40B4-BE49-F238E27FC236}">
                <a16:creationId xmlns:a16="http://schemas.microsoft.com/office/drawing/2014/main" id="{3ABBB783-BFC3-406F-9AE2-14E6D55F43A3}"/>
              </a:ext>
            </a:extLst>
          </p:cNvPr>
          <p:cNvSpPr>
            <a:spLocks noGrp="1"/>
          </p:cNvSpPr>
          <p:nvPr>
            <p:ph type="dt" sz="half" idx="16"/>
          </p:nvPr>
        </p:nvSpPr>
        <p:spPr/>
        <p:txBody>
          <a:bodyPr/>
          <a:lstStyle/>
          <a:p>
            <a:endParaRPr lang="en-US" b="1" dirty="0"/>
          </a:p>
        </p:txBody>
      </p:sp>
      <p:sp>
        <p:nvSpPr>
          <p:cNvPr id="12" name="Footer Placeholder 11">
            <a:extLst>
              <a:ext uri="{FF2B5EF4-FFF2-40B4-BE49-F238E27FC236}">
                <a16:creationId xmlns:a16="http://schemas.microsoft.com/office/drawing/2014/main" id="{7DAA9CDC-CAD4-4554-97D9-7059E95FE638}"/>
              </a:ext>
            </a:extLst>
          </p:cNvPr>
          <p:cNvSpPr>
            <a:spLocks noGrp="1"/>
          </p:cNvSpPr>
          <p:nvPr>
            <p:ph type="ftr" sz="quarter" idx="17"/>
          </p:nvPr>
        </p:nvSpPr>
        <p:spPr/>
        <p:txBody>
          <a:bodyPr/>
          <a:lstStyle/>
          <a:p>
            <a:endParaRPr lang="en-US" dirty="0"/>
          </a:p>
        </p:txBody>
      </p:sp>
      <p:sp>
        <p:nvSpPr>
          <p:cNvPr id="14" name="Slide Number Placeholder 13" hidden="1">
            <a:extLst>
              <a:ext uri="{FF2B5EF4-FFF2-40B4-BE49-F238E27FC236}">
                <a16:creationId xmlns:a16="http://schemas.microsoft.com/office/drawing/2014/main" id="{07C82FBB-C728-405A-8E31-DE02DA8D9177}"/>
              </a:ext>
            </a:extLst>
          </p:cNvPr>
          <p:cNvSpPr>
            <a:spLocks noGrp="1"/>
          </p:cNvSpPr>
          <p:nvPr>
            <p:ph type="sldNum" sz="quarter" idx="18"/>
          </p:nvPr>
        </p:nvSpPr>
        <p:spPr/>
        <p:txBody>
          <a:bodyPr/>
          <a:lstStyle/>
          <a:p>
            <a:r>
              <a:rPr lang="en-US"/>
              <a:t> </a:t>
            </a:r>
            <a:endParaRPr lang="en-US" dirty="0"/>
          </a:p>
        </p:txBody>
      </p:sp>
    </p:spTree>
    <p:extLst>
      <p:ext uri="{BB962C8B-B14F-4D97-AF65-F5344CB8AC3E}">
        <p14:creationId xmlns:p14="http://schemas.microsoft.com/office/powerpoint/2010/main" val="3260837156"/>
      </p:ext>
    </p:extLst>
  </p:cSld>
  <p:clrMapOvr>
    <a:masterClrMapping/>
  </p:clrMapOvr>
  <p:hf hdr="0"/>
  <p:extLst mod="1">
    <p:ext uri="{DCECCB84-F9BA-43D5-87BE-67443E8EF086}">
      <p15:sldGuideLst xmlns:p15="http://schemas.microsoft.com/office/powerpoint/2012/main">
        <p15:guide id="1" orient="horz" pos="1704" userDrawn="1">
          <p15:clr>
            <a:srgbClr val="FBAE40"/>
          </p15:clr>
        </p15:guide>
        <p15:guide id="2" orient="horz" pos="600" userDrawn="1">
          <p15:clr>
            <a:srgbClr val="FBAE40"/>
          </p15:clr>
        </p15:guide>
        <p15:guide id="3" orient="horz" pos="3018" userDrawn="1">
          <p15:clr>
            <a:srgbClr val="FBAE40"/>
          </p15:clr>
        </p15:guide>
        <p15:guide id="4" pos="5604" userDrawn="1">
          <p15:clr>
            <a:srgbClr val="FBAE40"/>
          </p15:clr>
        </p15:guide>
        <p15:guide id="5" pos="2916" userDrawn="1">
          <p15:clr>
            <a:srgbClr val="FBAE40"/>
          </p15:clr>
        </p15:guide>
        <p15:guide id="6" pos="2844" userDrawn="1">
          <p15:clr>
            <a:srgbClr val="FBAE40"/>
          </p15:clr>
        </p15:guide>
        <p15:guide id="7" pos="156" userDrawn="1">
          <p15:clr>
            <a:srgbClr val="FBAE40"/>
          </p15:clr>
        </p15:guide>
        <p15:guide id="8" orient="horz" pos="1824"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xOverObj" preserve="1">
  <p:cSld name="IFX_Row_Two_Columns_Row">
    <p:spTree>
      <p:nvGrpSpPr>
        <p:cNvPr id="1" name=""/>
        <p:cNvGrpSpPr/>
        <p:nvPr/>
      </p:nvGrpSpPr>
      <p:grpSpPr>
        <a:xfrm>
          <a:off x="0" y="0"/>
          <a:ext cx="0" cy="0"/>
          <a:chOff x="0" y="0"/>
          <a:chExt cx="0" cy="0"/>
        </a:xfrm>
      </p:grpSpPr>
      <p:sp>
        <p:nvSpPr>
          <p:cNvPr id="12" name="empower_additionalText_placeholder" hidden="1">
            <a:extLst>
              <a:ext uri="{FF2B5EF4-FFF2-40B4-BE49-F238E27FC236}">
                <a16:creationId xmlns:a16="http://schemas.microsoft.com/office/drawing/2014/main" id="{C812AE9A-81D7-4AE8-BC9F-85686450823C}"/>
              </a:ext>
            </a:extLst>
          </p:cNvPr>
          <p:cNvSpPr txBox="1"/>
          <p:nvPr>
            <p:custDataLst>
              <p:tags r:id="rId1"/>
            </p:custDataLst>
          </p:nvPr>
        </p:nvSpPr>
        <p:spPr bwMode="auto">
          <a:xfrm>
            <a:off x="1898847" y="4867006"/>
            <a:ext cx="1296000" cy="271094"/>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sz="600" noProof="0">
              <a:latin typeface="+mn-lt"/>
              <a:ea typeface="+mn-ea"/>
              <a:cs typeface="+mn-cs"/>
            </a:endParaRPr>
          </a:p>
        </p:txBody>
      </p:sp>
      <p:sp>
        <p:nvSpPr>
          <p:cNvPr id="10" name="empower_document_placeholder" hidden="1">
            <a:extLst>
              <a:ext uri="{FF2B5EF4-FFF2-40B4-BE49-F238E27FC236}">
                <a16:creationId xmlns:a16="http://schemas.microsoft.com/office/drawing/2014/main" id="{BA8D3527-E357-41F9-99D1-BCEAEC88D703}"/>
              </a:ext>
            </a:extLst>
          </p:cNvPr>
          <p:cNvSpPr txBox="1"/>
          <p:nvPr>
            <p:custDataLst>
              <p:tags r:id="rId2"/>
            </p:custDataLst>
          </p:nvPr>
        </p:nvSpPr>
        <p:spPr bwMode="auto">
          <a:xfrm rot="16200000">
            <a:off x="8068416" y="3720253"/>
            <a:ext cx="1944000" cy="188119"/>
          </a:xfrm>
          <a:prstGeom prst="rect">
            <a:avLst/>
          </a:prstGeom>
          <a:noFill/>
          <a:ln w="9525">
            <a:noFill/>
            <a:miter lim="800000"/>
            <a:headEnd/>
            <a:tailEnd/>
          </a:ln>
          <a:effectLst/>
        </p:spPr>
        <p:txBody>
          <a:bodyPr wrap="none" lIns="0" tIns="0" rIns="0" bIns="0" rtlCol="0" anchor="ctr" anchorCtr="0">
            <a:noAutofit/>
          </a:bodyPr>
          <a:lstStyle/>
          <a:p>
            <a:pPr marL="0" marR="0" indent="0"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525" kern="0" noProof="0">
                <a:solidFill>
                  <a:srgbClr val="928285"/>
                </a:solidFill>
                <a:latin typeface="+mn-lt"/>
                <a:ea typeface="+mn-ea"/>
                <a:cs typeface="+mn-cs"/>
              </a:rPr>
              <a:t>[Owner:   Doc ID:   Vers.: ]</a:t>
            </a:r>
          </a:p>
        </p:txBody>
      </p:sp>
      <p:sp>
        <p:nvSpPr>
          <p:cNvPr id="16" name="empower_proprietary_placeholder" hidden="1">
            <a:extLst>
              <a:ext uri="{FF2B5EF4-FFF2-40B4-BE49-F238E27FC236}">
                <a16:creationId xmlns:a16="http://schemas.microsoft.com/office/drawing/2014/main" id="{3A1A2EC5-F603-4F90-ADD8-B8933F3B810B}"/>
              </a:ext>
            </a:extLst>
          </p:cNvPr>
          <p:cNvSpPr txBox="1"/>
          <p:nvPr>
            <p:custDataLst>
              <p:tags r:id="rId3"/>
            </p:custDataLst>
          </p:nvPr>
        </p:nvSpPr>
        <p:spPr bwMode="auto">
          <a:xfrm>
            <a:off x="7083360" y="4867006"/>
            <a:ext cx="729000" cy="271094"/>
          </a:xfrm>
          <a:prstGeom prst="rect">
            <a:avLst/>
          </a:prstGeom>
          <a:noFill/>
          <a:ln w="9525">
            <a:noFill/>
            <a:miter lim="800000"/>
            <a:headEnd/>
            <a:tailEnd/>
          </a:ln>
          <a:effectLst/>
        </p:spPr>
        <p:txBody>
          <a:bodyPr wrap="none" lIns="0" tIns="0" rIns="0" bIns="0" rtlCol="0" anchor="ctr" anchorCtr="0">
            <a:noAutofit/>
          </a:bodyPr>
          <a:lstStyle/>
          <a:p>
            <a:pPr marL="0" marR="0" indent="0"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600" b="1" kern="0" noProof="0">
                <a:solidFill>
                  <a:srgbClr val="E30034"/>
                </a:solidFill>
                <a:latin typeface="+mn-lt"/>
                <a:ea typeface="+mn-ea"/>
                <a:cs typeface="+mn-cs"/>
              </a:rPr>
              <a:t>Infineon Proprietary</a:t>
            </a:r>
          </a:p>
        </p:txBody>
      </p:sp>
      <p:sp>
        <p:nvSpPr>
          <p:cNvPr id="18" name="empower_draft_placeholder" hidden="1">
            <a:extLst>
              <a:ext uri="{FF2B5EF4-FFF2-40B4-BE49-F238E27FC236}">
                <a16:creationId xmlns:a16="http://schemas.microsoft.com/office/drawing/2014/main" id="{FA03A6F0-5545-409D-93A9-5E09698484A1}"/>
              </a:ext>
            </a:extLst>
          </p:cNvPr>
          <p:cNvSpPr txBox="1"/>
          <p:nvPr>
            <p:custDataLst>
              <p:tags r:id="rId4"/>
            </p:custDataLst>
          </p:nvPr>
        </p:nvSpPr>
        <p:spPr bwMode="auto">
          <a:xfrm>
            <a:off x="6570892" y="4867006"/>
            <a:ext cx="270272" cy="271094"/>
          </a:xfrm>
          <a:prstGeom prst="rect">
            <a:avLst/>
          </a:prstGeom>
          <a:noFill/>
          <a:ln w="9525">
            <a:noFill/>
            <a:miter lim="800000"/>
            <a:headEnd/>
            <a:tailEnd/>
          </a:ln>
          <a:effectLst/>
        </p:spPr>
        <p:txBody>
          <a:bodyPr wrap="none" lIns="0" tIns="0" rIns="0" bIns="0" rtlCol="0" anchor="ctr" anchorCtr="0">
            <a:noAutofit/>
          </a:bodyPr>
          <a:lstStyle/>
          <a:p>
            <a:pPr marL="0" marR="0" indent="0" algn="l"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600" b="1" kern="0" noProof="0">
                <a:solidFill>
                  <a:srgbClr val="E30034"/>
                </a:solidFill>
                <a:latin typeface="+mn-lt"/>
                <a:ea typeface="+mn-ea"/>
                <a:cs typeface="+mn-cs"/>
              </a:rPr>
              <a:t>- DRAFT -</a:t>
            </a:r>
          </a:p>
        </p:txBody>
      </p:sp>
      <p:sp>
        <p:nvSpPr>
          <p:cNvPr id="20" name="empower_footer_placeholder">
            <a:extLst>
              <a:ext uri="{FF2B5EF4-FFF2-40B4-BE49-F238E27FC236}">
                <a16:creationId xmlns:a16="http://schemas.microsoft.com/office/drawing/2014/main" id="{97E57A33-CDFD-4C72-B657-882682DACB1E}"/>
              </a:ext>
            </a:extLst>
          </p:cNvPr>
          <p:cNvSpPr txBox="1"/>
          <p:nvPr>
            <p:custDataLst>
              <p:tags r:id="rId5"/>
            </p:custDataLst>
          </p:nvPr>
        </p:nvSpPr>
        <p:spPr bwMode="auto">
          <a:xfrm>
            <a:off x="3410872" y="4867006"/>
            <a:ext cx="2322257" cy="271094"/>
          </a:xfrm>
          <a:prstGeom prst="rect">
            <a:avLst/>
          </a:prstGeom>
          <a:noFill/>
          <a:ln w="9525">
            <a:noFill/>
            <a:miter lim="800000"/>
            <a:headEnd/>
            <a:tailEnd/>
          </a:ln>
          <a:effectLst/>
        </p:spPr>
        <p:txBody>
          <a:bodyPr wrap="none" lIns="0" tIns="0" rIns="0" bIns="0" rtlCol="0" anchor="ctr" anchorCtr="0">
            <a:noAutofit/>
          </a:bodyPr>
          <a:lstStyle/>
          <a:p>
            <a:pPr marL="0" marR="0" indent="0" algn="ctr" defTabSz="685800" eaLnBrk="0" fontAlgn="auto" latinLnBrk="0" hangingPunct="0">
              <a:spcBef>
                <a:spcPts val="0"/>
              </a:spcBef>
              <a:spcAft>
                <a:spcPts val="225"/>
              </a:spcAft>
              <a:buClr>
                <a:schemeClr val="accent1"/>
              </a:buClr>
              <a:buSzTx/>
              <a:buFont typeface="Arial" panose="020B0604020202020204" pitchFamily="34" charset="0"/>
              <a:buNone/>
              <a:tabLst/>
            </a:pPr>
            <a:r>
              <a:rPr lang="en-GB" sz="600" kern="0" noProof="0">
                <a:solidFill>
                  <a:srgbClr val="928285"/>
                </a:solidFill>
                <a:latin typeface="+mn-lt"/>
                <a:ea typeface="+mn-ea"/>
                <a:cs typeface="+mn-cs"/>
              </a:rPr>
              <a:t>Copyright © Infineon Technologies AG 2022. All rights reserved.</a:t>
            </a:r>
            <a:endParaRPr lang="en-US" sz="600" kern="0" noProof="0">
              <a:solidFill>
                <a:srgbClr val="928285"/>
              </a:solidFill>
              <a:latin typeface="+mn-lt"/>
              <a:ea typeface="+mn-ea"/>
              <a:cs typeface="+mn-cs"/>
            </a:endParaRPr>
          </a:p>
        </p:txBody>
      </p:sp>
      <p:sp>
        <p:nvSpPr>
          <p:cNvPr id="22" name="empower_classification_attention_placeholder" hidden="1">
            <a:extLst>
              <a:ext uri="{FF2B5EF4-FFF2-40B4-BE49-F238E27FC236}">
                <a16:creationId xmlns:a16="http://schemas.microsoft.com/office/drawing/2014/main" id="{5A896D99-24DF-4F81-9EC3-37F5EF05FFED}"/>
              </a:ext>
            </a:extLst>
          </p:cNvPr>
          <p:cNvSpPr txBox="1">
            <a:spLocks/>
          </p:cNvSpPr>
          <p:nvPr>
            <p:custDataLst>
              <p:tags r:id="rId6"/>
            </p:custDataLst>
          </p:nvPr>
        </p:nvSpPr>
        <p:spPr bwMode="auto">
          <a:xfrm>
            <a:off x="928642" y="4867006"/>
            <a:ext cx="728891" cy="271094"/>
          </a:xfrm>
          <a:prstGeom prst="rect">
            <a:avLst/>
          </a:prstGeom>
          <a:noFill/>
          <a:ln w="9525">
            <a:noFill/>
            <a:miter lim="800000"/>
            <a:headEnd/>
            <a:tailEnd/>
          </a:ln>
          <a:effectLst/>
        </p:spPr>
        <p:txBody>
          <a:bodyPr wrap="none" lIns="0" tIns="0" rIns="0" bIns="0" rtlCol="0" anchor="ctr" anchorCtr="0">
            <a:noAutofit/>
          </a:bodyPr>
          <a:lstStyle/>
          <a:p>
            <a:pPr marL="0" marR="0" indent="0" algn="l"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600" b="1" kern="0" noProof="0">
                <a:solidFill>
                  <a:srgbClr val="E30034"/>
                </a:solidFill>
                <a:latin typeface="+mn-lt"/>
                <a:ea typeface="+mn-ea"/>
                <a:cs typeface="+mn-cs"/>
              </a:rPr>
              <a:t>Restricted</a:t>
            </a:r>
          </a:p>
        </p:txBody>
      </p:sp>
      <p:sp>
        <p:nvSpPr>
          <p:cNvPr id="24" name="empower_classification_placeholder">
            <a:extLst>
              <a:ext uri="{FF2B5EF4-FFF2-40B4-BE49-F238E27FC236}">
                <a16:creationId xmlns:a16="http://schemas.microsoft.com/office/drawing/2014/main" id="{F09BE8EF-EBD2-4B7A-9878-8440DC26C91A}"/>
              </a:ext>
            </a:extLst>
          </p:cNvPr>
          <p:cNvSpPr txBox="1">
            <a:spLocks/>
          </p:cNvSpPr>
          <p:nvPr>
            <p:custDataLst>
              <p:tags r:id="rId7"/>
            </p:custDataLst>
          </p:nvPr>
        </p:nvSpPr>
        <p:spPr bwMode="auto">
          <a:xfrm>
            <a:off x="928642" y="4867006"/>
            <a:ext cx="729938" cy="271094"/>
          </a:xfrm>
          <a:prstGeom prst="rect">
            <a:avLst/>
          </a:prstGeom>
          <a:noFill/>
          <a:ln w="9525">
            <a:noFill/>
            <a:miter lim="800000"/>
            <a:headEnd/>
            <a:tailEnd/>
          </a:ln>
          <a:effectLst/>
        </p:spPr>
        <p:txBody>
          <a:bodyPr wrap="none" lIns="0" tIns="0" rIns="0" bIns="0" rtlCol="0" anchor="ctr" anchorCtr="0">
            <a:noAutofit/>
          </a:bodyPr>
          <a:lstStyle/>
          <a:p>
            <a:pPr marL="0" marR="0" indent="0" algn="l"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600" b="1" kern="0" noProof="0">
                <a:solidFill>
                  <a:srgbClr val="928285"/>
                </a:solidFill>
                <a:latin typeface="+mn-lt"/>
                <a:ea typeface="+mn-ea"/>
                <a:cs typeface="+mn-cs"/>
              </a:rPr>
              <a:t>restricted</a:t>
            </a:r>
          </a:p>
        </p:txBody>
      </p:sp>
      <p:sp>
        <p:nvSpPr>
          <p:cNvPr id="26" name="empower_date_placeholder">
            <a:extLst>
              <a:ext uri="{FF2B5EF4-FFF2-40B4-BE49-F238E27FC236}">
                <a16:creationId xmlns:a16="http://schemas.microsoft.com/office/drawing/2014/main" id="{99207B66-AFA5-4510-BF1D-29423C34CEF2}"/>
              </a:ext>
            </a:extLst>
          </p:cNvPr>
          <p:cNvSpPr txBox="1"/>
          <p:nvPr>
            <p:custDataLst>
              <p:tags r:id="rId8"/>
            </p:custDataLst>
          </p:nvPr>
        </p:nvSpPr>
        <p:spPr bwMode="auto">
          <a:xfrm>
            <a:off x="251222" y="4867006"/>
            <a:ext cx="459000" cy="271094"/>
          </a:xfrm>
          <a:prstGeom prst="rect">
            <a:avLst/>
          </a:prstGeom>
          <a:noFill/>
          <a:ln w="9525">
            <a:noFill/>
            <a:miter lim="800000"/>
            <a:headEnd/>
            <a:tailEnd/>
          </a:ln>
          <a:effectLst/>
        </p:spPr>
        <p:txBody>
          <a:bodyPr wrap="none" lIns="0" tIns="0" rIns="0" bIns="0" rtlCol="0" anchor="ctr" anchorCtr="0">
            <a:noAutofit/>
          </a:bodyPr>
          <a:lstStyle/>
          <a:p>
            <a:pPr marL="0" marR="0" indent="0"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600" kern="0" noProof="0">
                <a:solidFill>
                  <a:srgbClr val="928285"/>
                </a:solidFill>
                <a:latin typeface="+mn-lt"/>
                <a:ea typeface="+mn-ea"/>
                <a:cs typeface="+mn-cs"/>
              </a:rPr>
              <a:t>2022-07-16</a:t>
            </a:r>
          </a:p>
        </p:txBody>
      </p:sp>
      <p:sp>
        <p:nvSpPr>
          <p:cNvPr id="7" name="Content Top"/>
          <p:cNvSpPr>
            <a:spLocks noGrp="1"/>
          </p:cNvSpPr>
          <p:nvPr>
            <p:ph sz="quarter" idx="13" hasCustomPrompt="1"/>
          </p:nvPr>
        </p:nvSpPr>
        <p:spPr>
          <a:xfrm>
            <a:off x="250825" y="951309"/>
            <a:ext cx="8640960" cy="945000"/>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stStyle>
          <a:p>
            <a:pPr lvl="0"/>
            <a:r>
              <a:rPr lang="en-US" noProof="0"/>
              <a:t>Click to edit text</a:t>
            </a:r>
          </a:p>
          <a:p>
            <a:pPr lvl="1"/>
            <a:r>
              <a:rPr lang="en-US" noProof="0"/>
              <a:t>Second level</a:t>
            </a:r>
          </a:p>
          <a:p>
            <a:pPr lvl="2"/>
            <a:r>
              <a:rPr lang="en-US" noProof="0"/>
              <a:t>Third level</a:t>
            </a:r>
          </a:p>
        </p:txBody>
      </p:sp>
      <p:sp>
        <p:nvSpPr>
          <p:cNvPr id="9" name="Content Center Left"/>
          <p:cNvSpPr>
            <a:spLocks noGrp="1"/>
          </p:cNvSpPr>
          <p:nvPr>
            <p:ph sz="quarter" idx="14" hasCustomPrompt="1"/>
          </p:nvPr>
        </p:nvSpPr>
        <p:spPr>
          <a:xfrm>
            <a:off x="251100" y="2085685"/>
            <a:ext cx="4266000" cy="1485000"/>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vl4pPr>
              <a:spcAft>
                <a:spcPts val="0"/>
              </a:spcAft>
              <a:defRPr>
                <a:latin typeface="+mn-lt"/>
                <a:ea typeface="+mn-ea"/>
                <a:cs typeface="+mn-cs"/>
              </a:defRPr>
            </a:lvl4pPr>
            <a:lvl5pPr>
              <a:spcAft>
                <a:spcPts val="0"/>
              </a:spcAft>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Center Right"/>
          <p:cNvSpPr>
            <a:spLocks noGrp="1"/>
          </p:cNvSpPr>
          <p:nvPr>
            <p:ph sz="quarter" idx="15" hasCustomPrompt="1"/>
          </p:nvPr>
        </p:nvSpPr>
        <p:spPr>
          <a:xfrm>
            <a:off x="4625578" y="2085685"/>
            <a:ext cx="4266000" cy="1485000"/>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vl4pPr>
              <a:spcAft>
                <a:spcPts val="0"/>
              </a:spcAft>
              <a:defRPr>
                <a:latin typeface="+mn-lt"/>
                <a:ea typeface="+mn-ea"/>
                <a:cs typeface="+mn-cs"/>
              </a:defRPr>
            </a:lvl4pPr>
            <a:lvl5pPr>
              <a:spcAft>
                <a:spcPts val="0"/>
              </a:spcAft>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Bottom"/>
          <p:cNvSpPr>
            <a:spLocks noGrp="1"/>
          </p:cNvSpPr>
          <p:nvPr>
            <p:ph sz="quarter" idx="16" hasCustomPrompt="1"/>
          </p:nvPr>
        </p:nvSpPr>
        <p:spPr>
          <a:xfrm>
            <a:off x="250825" y="3813890"/>
            <a:ext cx="8640960" cy="972425"/>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stStyle>
          <a:p>
            <a:pPr lvl="0"/>
            <a:r>
              <a:rPr lang="en-US" noProof="0"/>
              <a:t>Click to edit text</a:t>
            </a:r>
          </a:p>
          <a:p>
            <a:pPr lvl="1"/>
            <a:r>
              <a:rPr lang="en-US" noProof="0"/>
              <a:t>Second level</a:t>
            </a:r>
          </a:p>
          <a:p>
            <a:pPr lvl="2"/>
            <a:r>
              <a:rPr lang="en-US" noProof="0"/>
              <a:t>Third level</a:t>
            </a:r>
          </a:p>
        </p:txBody>
      </p:sp>
      <p:sp>
        <p:nvSpPr>
          <p:cNvPr id="6" name="Title">
            <a:extLst>
              <a:ext uri="{FF2B5EF4-FFF2-40B4-BE49-F238E27FC236}">
                <a16:creationId xmlns:a16="http://schemas.microsoft.com/office/drawing/2014/main" id="{42CB6C61-472A-4F78-8808-601D74D8D1AD}"/>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878DF235-2AD8-4C82-A0BD-D1BDFC873704}"/>
              </a:ext>
            </a:extLst>
          </p:cNvPr>
          <p:cNvSpPr/>
          <p:nvPr>
            <p:custDataLst>
              <p:tags r:id="rId9"/>
            </p:custDataLst>
          </p:nvPr>
        </p:nvSpPr>
        <p:spPr bwMode="auto">
          <a:xfrm>
            <a:off x="7598463" y="1"/>
            <a:ext cx="1545538" cy="627534"/>
          </a:xfrm>
          <a:prstGeom prst="rect">
            <a:avLst/>
          </a:prstGeom>
          <a:solidFill>
            <a:schemeClr val="accent3">
              <a:alpha val="50000"/>
            </a:schemeClr>
          </a:solidFill>
          <a:ln w="9525">
            <a:noFill/>
            <a:miter lim="800000"/>
            <a:headEnd/>
            <a:tailEnd/>
          </a:ln>
        </p:spPr>
        <p:txBody>
          <a:bodyPr wrap="square" lIns="54000" tIns="54000" rIns="54000" bIns="54000" rtlCol="0" anchor="ctr"/>
          <a:lstStyle/>
          <a:p>
            <a:pPr algn="ctr" eaLnBrk="0" hangingPunct="0"/>
            <a:endParaRPr lang="en-US" sz="1200" noProof="0">
              <a:latin typeface="+mn-lt"/>
              <a:ea typeface="+mn-ea"/>
              <a:cs typeface="+mn-cs"/>
            </a:endParaRPr>
          </a:p>
        </p:txBody>
      </p:sp>
      <p:sp>
        <p:nvSpPr>
          <p:cNvPr id="2" name="Date Placeholder 1">
            <a:extLst>
              <a:ext uri="{FF2B5EF4-FFF2-40B4-BE49-F238E27FC236}">
                <a16:creationId xmlns:a16="http://schemas.microsoft.com/office/drawing/2014/main" id="{A9104FB9-0912-4A0F-BBB7-DF055F829451}"/>
              </a:ext>
            </a:extLst>
          </p:cNvPr>
          <p:cNvSpPr>
            <a:spLocks noGrp="1"/>
          </p:cNvSpPr>
          <p:nvPr>
            <p:ph type="dt" sz="half" idx="17"/>
          </p:nvPr>
        </p:nvSpPr>
        <p:spPr/>
        <p:txBody>
          <a:bodyPr/>
          <a:lstStyle/>
          <a:p>
            <a:endParaRPr lang="en-US" b="1" dirty="0"/>
          </a:p>
        </p:txBody>
      </p:sp>
      <p:sp>
        <p:nvSpPr>
          <p:cNvPr id="14" name="Footer Placeholder 13">
            <a:extLst>
              <a:ext uri="{FF2B5EF4-FFF2-40B4-BE49-F238E27FC236}">
                <a16:creationId xmlns:a16="http://schemas.microsoft.com/office/drawing/2014/main" id="{E424A36D-7777-4A82-B12F-96CE1F877678}"/>
              </a:ext>
            </a:extLst>
          </p:cNvPr>
          <p:cNvSpPr>
            <a:spLocks noGrp="1"/>
          </p:cNvSpPr>
          <p:nvPr>
            <p:ph type="ftr" sz="quarter" idx="18"/>
          </p:nvPr>
        </p:nvSpPr>
        <p:spPr/>
        <p:txBody>
          <a:bodyPr/>
          <a:lstStyle/>
          <a:p>
            <a:endParaRPr lang="en-US" dirty="0"/>
          </a:p>
        </p:txBody>
      </p:sp>
      <p:sp>
        <p:nvSpPr>
          <p:cNvPr id="15" name="Slide Number Placeholder 14" hidden="1">
            <a:extLst>
              <a:ext uri="{FF2B5EF4-FFF2-40B4-BE49-F238E27FC236}">
                <a16:creationId xmlns:a16="http://schemas.microsoft.com/office/drawing/2014/main" id="{E1CCD2B2-40D2-43D5-80C4-5322AD403334}"/>
              </a:ext>
            </a:extLst>
          </p:cNvPr>
          <p:cNvSpPr>
            <a:spLocks noGrp="1"/>
          </p:cNvSpPr>
          <p:nvPr>
            <p:ph type="sldNum" sz="quarter" idx="19"/>
          </p:nvPr>
        </p:nvSpPr>
        <p:spPr/>
        <p:txBody>
          <a:bodyPr/>
          <a:lstStyle/>
          <a:p>
            <a:r>
              <a:rPr lang="en-US"/>
              <a:t> </a:t>
            </a:r>
            <a:endParaRPr lang="en-US" dirty="0"/>
          </a:p>
        </p:txBody>
      </p:sp>
    </p:spTree>
    <p:extLst>
      <p:ext uri="{BB962C8B-B14F-4D97-AF65-F5344CB8AC3E}">
        <p14:creationId xmlns:p14="http://schemas.microsoft.com/office/powerpoint/2010/main" val="3305104895"/>
      </p:ext>
    </p:extLst>
  </p:cSld>
  <p:clrMapOvr>
    <a:masterClrMapping/>
  </p:clrMapOvr>
  <p:hf hdr="0"/>
  <p:extLst mod="1">
    <p:ext uri="{DCECCB84-F9BA-43D5-87BE-67443E8EF086}">
      <p15:sldGuideLst xmlns:p15="http://schemas.microsoft.com/office/powerpoint/2012/main">
        <p15:guide id="1" pos="2916" userDrawn="1">
          <p15:clr>
            <a:srgbClr val="FBAE40"/>
          </p15:clr>
        </p15:guide>
        <p15:guide id="2" pos="2844" userDrawn="1">
          <p15:clr>
            <a:srgbClr val="FBAE40"/>
          </p15:clr>
        </p15:guide>
        <p15:guide id="3" pos="156" userDrawn="1">
          <p15:clr>
            <a:srgbClr val="FBAE40"/>
          </p15:clr>
        </p15:guide>
        <p15:guide id="4" pos="5604" userDrawn="1">
          <p15:clr>
            <a:srgbClr val="FBAE40"/>
          </p15:clr>
        </p15:guide>
        <p15:guide id="5" orient="horz" pos="600" userDrawn="1">
          <p15:clr>
            <a:srgbClr val="FBAE40"/>
          </p15:clr>
        </p15:guide>
        <p15:guide id="6" orient="horz" pos="1194" userDrawn="1">
          <p15:clr>
            <a:srgbClr val="FBAE40"/>
          </p15:clr>
        </p15:guide>
        <p15:guide id="7" orient="horz" pos="1314" userDrawn="1">
          <p15:clr>
            <a:srgbClr val="FBAE40"/>
          </p15:clr>
        </p15:guide>
        <p15:guide id="8" orient="horz" pos="2250" userDrawn="1">
          <p15:clr>
            <a:srgbClr val="FBAE40"/>
          </p15:clr>
        </p15:guide>
        <p15:guide id="9" orient="horz" pos="2400" userDrawn="1">
          <p15:clr>
            <a:srgbClr val="FBAE40"/>
          </p15:clr>
        </p15:guide>
        <p15:guide id="10" orient="horz" pos="3018"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AndTx" preserve="1">
  <p:cSld name="IFX_Title_and_Three_Columns">
    <p:spTree>
      <p:nvGrpSpPr>
        <p:cNvPr id="1" name=""/>
        <p:cNvGrpSpPr/>
        <p:nvPr/>
      </p:nvGrpSpPr>
      <p:grpSpPr>
        <a:xfrm>
          <a:off x="0" y="0"/>
          <a:ext cx="0" cy="0"/>
          <a:chOff x="0" y="0"/>
          <a:chExt cx="0" cy="0"/>
        </a:xfrm>
      </p:grpSpPr>
      <p:sp>
        <p:nvSpPr>
          <p:cNvPr id="10" name="empower_additionalText_placeholder" hidden="1">
            <a:extLst>
              <a:ext uri="{FF2B5EF4-FFF2-40B4-BE49-F238E27FC236}">
                <a16:creationId xmlns:a16="http://schemas.microsoft.com/office/drawing/2014/main" id="{7FB993A8-52D6-439E-9FD7-796FB1371096}"/>
              </a:ext>
            </a:extLst>
          </p:cNvPr>
          <p:cNvSpPr txBox="1"/>
          <p:nvPr>
            <p:custDataLst>
              <p:tags r:id="rId1"/>
            </p:custDataLst>
          </p:nvPr>
        </p:nvSpPr>
        <p:spPr bwMode="auto">
          <a:xfrm>
            <a:off x="1898847" y="4867275"/>
            <a:ext cx="1296000" cy="270825"/>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sz="600" noProof="0">
              <a:latin typeface="+mn-lt"/>
              <a:ea typeface="+mn-ea"/>
              <a:cs typeface="+mn-cs"/>
            </a:endParaRPr>
          </a:p>
        </p:txBody>
      </p:sp>
      <p:sp>
        <p:nvSpPr>
          <p:cNvPr id="13" name="empower_document_placeholder" hidden="1">
            <a:extLst>
              <a:ext uri="{FF2B5EF4-FFF2-40B4-BE49-F238E27FC236}">
                <a16:creationId xmlns:a16="http://schemas.microsoft.com/office/drawing/2014/main" id="{112013B0-A00B-4A1F-90FB-E2E8B2F86D5D}"/>
              </a:ext>
            </a:extLst>
          </p:cNvPr>
          <p:cNvSpPr txBox="1"/>
          <p:nvPr>
            <p:custDataLst>
              <p:tags r:id="rId2"/>
            </p:custDataLst>
          </p:nvPr>
        </p:nvSpPr>
        <p:spPr bwMode="auto">
          <a:xfrm rot="16200000">
            <a:off x="8068416" y="3720253"/>
            <a:ext cx="1944000" cy="188119"/>
          </a:xfrm>
          <a:prstGeom prst="rect">
            <a:avLst/>
          </a:prstGeom>
          <a:noFill/>
          <a:ln w="9525">
            <a:noFill/>
            <a:miter lim="800000"/>
            <a:headEnd/>
            <a:tailEnd/>
          </a:ln>
          <a:effectLst/>
        </p:spPr>
        <p:txBody>
          <a:bodyPr wrap="none" lIns="0" tIns="0" rIns="0" bIns="0" rtlCol="0" anchor="ctr" anchorCtr="0">
            <a:noAutofit/>
          </a:bodyPr>
          <a:lstStyle/>
          <a:p>
            <a:pPr marL="0" marR="0" indent="0"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525" kern="0" noProof="0">
                <a:solidFill>
                  <a:srgbClr val="928285"/>
                </a:solidFill>
                <a:latin typeface="+mn-lt"/>
                <a:ea typeface="+mn-ea"/>
                <a:cs typeface="+mn-cs"/>
              </a:rPr>
              <a:t>[Owner:   Doc ID:   Vers.: ]</a:t>
            </a:r>
          </a:p>
        </p:txBody>
      </p:sp>
      <p:sp>
        <p:nvSpPr>
          <p:cNvPr id="15" name="empower_proprietary_placeholder" hidden="1">
            <a:extLst>
              <a:ext uri="{FF2B5EF4-FFF2-40B4-BE49-F238E27FC236}">
                <a16:creationId xmlns:a16="http://schemas.microsoft.com/office/drawing/2014/main" id="{FC3769D5-91E6-43B0-BC4B-C0040A71CFD6}"/>
              </a:ext>
            </a:extLst>
          </p:cNvPr>
          <p:cNvSpPr txBox="1"/>
          <p:nvPr>
            <p:custDataLst>
              <p:tags r:id="rId3"/>
            </p:custDataLst>
          </p:nvPr>
        </p:nvSpPr>
        <p:spPr bwMode="auto">
          <a:xfrm>
            <a:off x="7083360" y="4867275"/>
            <a:ext cx="729000" cy="270825"/>
          </a:xfrm>
          <a:prstGeom prst="rect">
            <a:avLst/>
          </a:prstGeom>
          <a:noFill/>
          <a:ln w="9525">
            <a:noFill/>
            <a:miter lim="800000"/>
            <a:headEnd/>
            <a:tailEnd/>
          </a:ln>
          <a:effectLst/>
        </p:spPr>
        <p:txBody>
          <a:bodyPr wrap="none" lIns="0" tIns="0" rIns="0" bIns="0" rtlCol="0" anchor="ctr" anchorCtr="0">
            <a:noAutofit/>
          </a:bodyPr>
          <a:lstStyle/>
          <a:p>
            <a:pPr marL="0" marR="0" indent="0"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600" b="1" kern="0" noProof="0">
                <a:solidFill>
                  <a:srgbClr val="E30034"/>
                </a:solidFill>
                <a:latin typeface="+mn-lt"/>
                <a:ea typeface="+mn-ea"/>
                <a:cs typeface="+mn-cs"/>
              </a:rPr>
              <a:t>Infineon Proprietary</a:t>
            </a:r>
          </a:p>
        </p:txBody>
      </p:sp>
      <p:sp>
        <p:nvSpPr>
          <p:cNvPr id="17" name="empower_draft_placeholder" hidden="1">
            <a:extLst>
              <a:ext uri="{FF2B5EF4-FFF2-40B4-BE49-F238E27FC236}">
                <a16:creationId xmlns:a16="http://schemas.microsoft.com/office/drawing/2014/main" id="{B0E0CB85-0435-4FEC-B2B6-D19200B62923}"/>
              </a:ext>
            </a:extLst>
          </p:cNvPr>
          <p:cNvSpPr txBox="1"/>
          <p:nvPr>
            <p:custDataLst>
              <p:tags r:id="rId4"/>
            </p:custDataLst>
          </p:nvPr>
        </p:nvSpPr>
        <p:spPr bwMode="auto">
          <a:xfrm>
            <a:off x="6570892" y="4867275"/>
            <a:ext cx="270272" cy="270825"/>
          </a:xfrm>
          <a:prstGeom prst="rect">
            <a:avLst/>
          </a:prstGeom>
          <a:noFill/>
          <a:ln w="9525">
            <a:noFill/>
            <a:miter lim="800000"/>
            <a:headEnd/>
            <a:tailEnd/>
          </a:ln>
          <a:effectLst/>
        </p:spPr>
        <p:txBody>
          <a:bodyPr wrap="none" lIns="0" tIns="0" rIns="0" bIns="0" rtlCol="0" anchor="ctr" anchorCtr="0">
            <a:noAutofit/>
          </a:bodyPr>
          <a:lstStyle/>
          <a:p>
            <a:pPr marL="0" marR="0" indent="0" algn="l"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600" b="1" kern="0" noProof="0">
                <a:solidFill>
                  <a:srgbClr val="E30034"/>
                </a:solidFill>
                <a:latin typeface="+mn-lt"/>
                <a:ea typeface="+mn-ea"/>
                <a:cs typeface="+mn-cs"/>
              </a:rPr>
              <a:t>- DRAFT -</a:t>
            </a:r>
          </a:p>
        </p:txBody>
      </p:sp>
      <p:sp>
        <p:nvSpPr>
          <p:cNvPr id="19" name="empower_footer_placeholder">
            <a:extLst>
              <a:ext uri="{FF2B5EF4-FFF2-40B4-BE49-F238E27FC236}">
                <a16:creationId xmlns:a16="http://schemas.microsoft.com/office/drawing/2014/main" id="{557CA6BF-F2F9-417F-A2FD-035F1FC85693}"/>
              </a:ext>
            </a:extLst>
          </p:cNvPr>
          <p:cNvSpPr txBox="1"/>
          <p:nvPr>
            <p:custDataLst>
              <p:tags r:id="rId5"/>
            </p:custDataLst>
          </p:nvPr>
        </p:nvSpPr>
        <p:spPr bwMode="auto">
          <a:xfrm>
            <a:off x="3410872" y="4867275"/>
            <a:ext cx="2322257" cy="270825"/>
          </a:xfrm>
          <a:prstGeom prst="rect">
            <a:avLst/>
          </a:prstGeom>
          <a:noFill/>
          <a:ln w="9525">
            <a:noFill/>
            <a:miter lim="800000"/>
            <a:headEnd/>
            <a:tailEnd/>
          </a:ln>
          <a:effectLst/>
        </p:spPr>
        <p:txBody>
          <a:bodyPr wrap="none" lIns="0" tIns="0" rIns="0" bIns="0" rtlCol="0" anchor="ctr" anchorCtr="0">
            <a:noAutofit/>
          </a:bodyPr>
          <a:lstStyle/>
          <a:p>
            <a:pPr marL="0" marR="0" indent="0" algn="ctr" defTabSz="685800" eaLnBrk="0" fontAlgn="auto" latinLnBrk="0" hangingPunct="0">
              <a:spcBef>
                <a:spcPts val="0"/>
              </a:spcBef>
              <a:spcAft>
                <a:spcPts val="225"/>
              </a:spcAft>
              <a:buClr>
                <a:schemeClr val="accent1"/>
              </a:buClr>
              <a:buSzTx/>
              <a:buFont typeface="Arial" panose="020B0604020202020204" pitchFamily="34" charset="0"/>
              <a:buNone/>
              <a:tabLst/>
            </a:pPr>
            <a:r>
              <a:rPr lang="en-GB" sz="600" kern="0" noProof="0">
                <a:solidFill>
                  <a:srgbClr val="928285"/>
                </a:solidFill>
                <a:latin typeface="+mn-lt"/>
                <a:ea typeface="+mn-ea"/>
                <a:cs typeface="+mn-cs"/>
              </a:rPr>
              <a:t>Copyright © Infineon Technologies AG 2022. All rights reserved.</a:t>
            </a:r>
            <a:endParaRPr lang="en-US" sz="600" kern="0" noProof="0">
              <a:solidFill>
                <a:srgbClr val="928285"/>
              </a:solidFill>
              <a:latin typeface="+mn-lt"/>
              <a:ea typeface="+mn-ea"/>
              <a:cs typeface="+mn-cs"/>
            </a:endParaRPr>
          </a:p>
        </p:txBody>
      </p:sp>
      <p:sp>
        <p:nvSpPr>
          <p:cNvPr id="21" name="empower_classification_attention_placeholder" hidden="1">
            <a:extLst>
              <a:ext uri="{FF2B5EF4-FFF2-40B4-BE49-F238E27FC236}">
                <a16:creationId xmlns:a16="http://schemas.microsoft.com/office/drawing/2014/main" id="{8C605CA2-9EAD-450F-BC1B-8D9AF92E5875}"/>
              </a:ext>
            </a:extLst>
          </p:cNvPr>
          <p:cNvSpPr txBox="1">
            <a:spLocks/>
          </p:cNvSpPr>
          <p:nvPr>
            <p:custDataLst>
              <p:tags r:id="rId6"/>
            </p:custDataLst>
          </p:nvPr>
        </p:nvSpPr>
        <p:spPr bwMode="auto">
          <a:xfrm>
            <a:off x="928642" y="4867275"/>
            <a:ext cx="728891" cy="270825"/>
          </a:xfrm>
          <a:prstGeom prst="rect">
            <a:avLst/>
          </a:prstGeom>
          <a:noFill/>
          <a:ln w="9525">
            <a:noFill/>
            <a:miter lim="800000"/>
            <a:headEnd/>
            <a:tailEnd/>
          </a:ln>
          <a:effectLst/>
        </p:spPr>
        <p:txBody>
          <a:bodyPr wrap="none" lIns="0" tIns="0" rIns="0" bIns="0" rtlCol="0" anchor="ctr" anchorCtr="0">
            <a:noAutofit/>
          </a:bodyPr>
          <a:lstStyle/>
          <a:p>
            <a:pPr marL="0" marR="0" indent="0" algn="l"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600" b="1" kern="0" noProof="0">
                <a:solidFill>
                  <a:srgbClr val="E30034"/>
                </a:solidFill>
                <a:latin typeface="+mn-lt"/>
                <a:ea typeface="+mn-ea"/>
                <a:cs typeface="+mn-cs"/>
              </a:rPr>
              <a:t>Restricted</a:t>
            </a:r>
          </a:p>
        </p:txBody>
      </p:sp>
      <p:sp>
        <p:nvSpPr>
          <p:cNvPr id="23" name="empower_classification_placeholder">
            <a:extLst>
              <a:ext uri="{FF2B5EF4-FFF2-40B4-BE49-F238E27FC236}">
                <a16:creationId xmlns:a16="http://schemas.microsoft.com/office/drawing/2014/main" id="{4E82CE8C-8E20-4C1A-B65C-F8A30CF5A153}"/>
              </a:ext>
            </a:extLst>
          </p:cNvPr>
          <p:cNvSpPr txBox="1">
            <a:spLocks/>
          </p:cNvSpPr>
          <p:nvPr>
            <p:custDataLst>
              <p:tags r:id="rId7"/>
            </p:custDataLst>
          </p:nvPr>
        </p:nvSpPr>
        <p:spPr bwMode="auto">
          <a:xfrm>
            <a:off x="928642" y="4867275"/>
            <a:ext cx="729938" cy="270825"/>
          </a:xfrm>
          <a:prstGeom prst="rect">
            <a:avLst/>
          </a:prstGeom>
          <a:noFill/>
          <a:ln w="9525">
            <a:noFill/>
            <a:miter lim="800000"/>
            <a:headEnd/>
            <a:tailEnd/>
          </a:ln>
          <a:effectLst/>
        </p:spPr>
        <p:txBody>
          <a:bodyPr wrap="none" lIns="0" tIns="0" rIns="0" bIns="0" rtlCol="0" anchor="ctr" anchorCtr="0">
            <a:noAutofit/>
          </a:bodyPr>
          <a:lstStyle/>
          <a:p>
            <a:pPr marL="0" marR="0" indent="0" algn="l"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600" b="1" kern="0" noProof="0">
                <a:solidFill>
                  <a:srgbClr val="928285"/>
                </a:solidFill>
                <a:latin typeface="+mn-lt"/>
                <a:ea typeface="+mn-ea"/>
                <a:cs typeface="+mn-cs"/>
              </a:rPr>
              <a:t>restricted</a:t>
            </a:r>
          </a:p>
        </p:txBody>
      </p:sp>
      <p:sp>
        <p:nvSpPr>
          <p:cNvPr id="25" name="empower_date_placeholder">
            <a:extLst>
              <a:ext uri="{FF2B5EF4-FFF2-40B4-BE49-F238E27FC236}">
                <a16:creationId xmlns:a16="http://schemas.microsoft.com/office/drawing/2014/main" id="{D96F0A90-37BC-4B0D-A29D-8711C51DD447}"/>
              </a:ext>
            </a:extLst>
          </p:cNvPr>
          <p:cNvSpPr txBox="1"/>
          <p:nvPr>
            <p:custDataLst>
              <p:tags r:id="rId8"/>
            </p:custDataLst>
          </p:nvPr>
        </p:nvSpPr>
        <p:spPr bwMode="auto">
          <a:xfrm>
            <a:off x="251222" y="4867275"/>
            <a:ext cx="459000" cy="270825"/>
          </a:xfrm>
          <a:prstGeom prst="rect">
            <a:avLst/>
          </a:prstGeom>
          <a:noFill/>
          <a:ln w="9525">
            <a:noFill/>
            <a:miter lim="800000"/>
            <a:headEnd/>
            <a:tailEnd/>
          </a:ln>
          <a:effectLst/>
        </p:spPr>
        <p:txBody>
          <a:bodyPr wrap="none" lIns="0" tIns="0" rIns="0" bIns="0" rtlCol="0" anchor="ctr" anchorCtr="0">
            <a:noAutofit/>
          </a:bodyPr>
          <a:lstStyle/>
          <a:p>
            <a:pPr marL="0" marR="0" indent="0"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600" kern="0" noProof="0">
                <a:solidFill>
                  <a:srgbClr val="928285"/>
                </a:solidFill>
                <a:latin typeface="+mn-lt"/>
                <a:ea typeface="+mn-ea"/>
                <a:cs typeface="+mn-cs"/>
              </a:rPr>
              <a:t>2022-07-16</a:t>
            </a:r>
          </a:p>
        </p:txBody>
      </p:sp>
      <p:sp>
        <p:nvSpPr>
          <p:cNvPr id="7" name="Content Left"/>
          <p:cNvSpPr>
            <a:spLocks noGrp="1"/>
          </p:cNvSpPr>
          <p:nvPr>
            <p:ph sz="quarter" idx="13" hasCustomPrompt="1"/>
          </p:nvPr>
        </p:nvSpPr>
        <p:spPr>
          <a:xfrm>
            <a:off x="251100" y="951311"/>
            <a:ext cx="2808288" cy="3835003"/>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Center"/>
          <p:cNvSpPr>
            <a:spLocks noGrp="1"/>
          </p:cNvSpPr>
          <p:nvPr>
            <p:ph sz="quarter" idx="14" hasCustomPrompt="1"/>
          </p:nvPr>
        </p:nvSpPr>
        <p:spPr>
          <a:xfrm>
            <a:off x="3196799" y="951311"/>
            <a:ext cx="2754000" cy="3835003"/>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Right"/>
          <p:cNvSpPr>
            <a:spLocks noGrp="1"/>
          </p:cNvSpPr>
          <p:nvPr>
            <p:ph sz="quarter" idx="15" hasCustomPrompt="1"/>
          </p:nvPr>
        </p:nvSpPr>
        <p:spPr>
          <a:xfrm>
            <a:off x="6084888" y="951311"/>
            <a:ext cx="2808312" cy="3835003"/>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itle">
            <a:extLst>
              <a:ext uri="{FF2B5EF4-FFF2-40B4-BE49-F238E27FC236}">
                <a16:creationId xmlns:a16="http://schemas.microsoft.com/office/drawing/2014/main" id="{7A635AE4-FE20-4282-BFFD-96EBDCED60D9}"/>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96E14A5B-9E91-4287-8D3D-9F9C469D8ECA}"/>
              </a:ext>
            </a:extLst>
          </p:cNvPr>
          <p:cNvSpPr/>
          <p:nvPr>
            <p:custDataLst>
              <p:tags r:id="rId9"/>
            </p:custDataLst>
          </p:nvPr>
        </p:nvSpPr>
        <p:spPr bwMode="auto">
          <a:xfrm>
            <a:off x="7598463" y="1"/>
            <a:ext cx="1545538" cy="627534"/>
          </a:xfrm>
          <a:prstGeom prst="rect">
            <a:avLst/>
          </a:prstGeom>
          <a:solidFill>
            <a:schemeClr val="accent3">
              <a:alpha val="50000"/>
            </a:schemeClr>
          </a:solidFill>
          <a:ln w="9525">
            <a:noFill/>
            <a:miter lim="800000"/>
            <a:headEnd/>
            <a:tailEnd/>
          </a:ln>
        </p:spPr>
        <p:txBody>
          <a:bodyPr wrap="square" lIns="54000" tIns="54000" rIns="54000" bIns="54000" rtlCol="0" anchor="ctr"/>
          <a:lstStyle/>
          <a:p>
            <a:pPr algn="ctr" eaLnBrk="0" hangingPunct="0"/>
            <a:endParaRPr lang="en-US" sz="1200" noProof="0">
              <a:latin typeface="+mn-lt"/>
              <a:ea typeface="+mn-ea"/>
              <a:cs typeface="+mn-cs"/>
            </a:endParaRPr>
          </a:p>
        </p:txBody>
      </p:sp>
      <p:sp>
        <p:nvSpPr>
          <p:cNvPr id="2" name="Date Placeholder 1">
            <a:extLst>
              <a:ext uri="{FF2B5EF4-FFF2-40B4-BE49-F238E27FC236}">
                <a16:creationId xmlns:a16="http://schemas.microsoft.com/office/drawing/2014/main" id="{210BD89C-2BAC-459E-A79D-05B6C0B33362}"/>
              </a:ext>
            </a:extLst>
          </p:cNvPr>
          <p:cNvSpPr>
            <a:spLocks noGrp="1"/>
          </p:cNvSpPr>
          <p:nvPr>
            <p:ph type="dt" sz="half" idx="16"/>
          </p:nvPr>
        </p:nvSpPr>
        <p:spPr/>
        <p:txBody>
          <a:bodyPr/>
          <a:lstStyle/>
          <a:p>
            <a:endParaRPr lang="en-US" b="1" dirty="0"/>
          </a:p>
        </p:txBody>
      </p:sp>
      <p:sp>
        <p:nvSpPr>
          <p:cNvPr id="12" name="Footer Placeholder 11">
            <a:extLst>
              <a:ext uri="{FF2B5EF4-FFF2-40B4-BE49-F238E27FC236}">
                <a16:creationId xmlns:a16="http://schemas.microsoft.com/office/drawing/2014/main" id="{13A018B2-30A4-435D-A599-2BE57EAB5CBC}"/>
              </a:ext>
            </a:extLst>
          </p:cNvPr>
          <p:cNvSpPr>
            <a:spLocks noGrp="1"/>
          </p:cNvSpPr>
          <p:nvPr>
            <p:ph type="ftr" sz="quarter" idx="17"/>
          </p:nvPr>
        </p:nvSpPr>
        <p:spPr/>
        <p:txBody>
          <a:bodyPr/>
          <a:lstStyle/>
          <a:p>
            <a:endParaRPr lang="en-US" dirty="0"/>
          </a:p>
        </p:txBody>
      </p:sp>
      <p:sp>
        <p:nvSpPr>
          <p:cNvPr id="14" name="Slide Number Placeholder 13" hidden="1">
            <a:extLst>
              <a:ext uri="{FF2B5EF4-FFF2-40B4-BE49-F238E27FC236}">
                <a16:creationId xmlns:a16="http://schemas.microsoft.com/office/drawing/2014/main" id="{B6CA23A5-CFDD-4B39-B853-6A18A878BFBF}"/>
              </a:ext>
            </a:extLst>
          </p:cNvPr>
          <p:cNvSpPr>
            <a:spLocks noGrp="1"/>
          </p:cNvSpPr>
          <p:nvPr>
            <p:ph type="sldNum" sz="quarter" idx="18"/>
          </p:nvPr>
        </p:nvSpPr>
        <p:spPr/>
        <p:txBody>
          <a:bodyPr/>
          <a:lstStyle/>
          <a:p>
            <a:r>
              <a:rPr lang="en-US"/>
              <a:t> </a:t>
            </a:r>
            <a:endParaRPr lang="en-US" dirty="0"/>
          </a:p>
        </p:txBody>
      </p:sp>
    </p:spTree>
    <p:extLst>
      <p:ext uri="{BB962C8B-B14F-4D97-AF65-F5344CB8AC3E}">
        <p14:creationId xmlns:p14="http://schemas.microsoft.com/office/powerpoint/2010/main" val="2089552128"/>
      </p:ext>
    </p:extLst>
  </p:cSld>
  <p:clrMapOvr>
    <a:masterClrMapping/>
  </p:clrMapOvr>
  <p:hf hdr="0"/>
  <p:extLst mod="1">
    <p:ext uri="{DCECCB84-F9BA-43D5-87BE-67443E8EF086}">
      <p15:sldGuideLst xmlns:p15="http://schemas.microsoft.com/office/powerpoint/2012/main">
        <p15:guide id="1" orient="horz" pos="3018" userDrawn="1">
          <p15:clr>
            <a:srgbClr val="FBAE40"/>
          </p15:clr>
        </p15:guide>
        <p15:guide id="2" orient="horz" pos="600" userDrawn="1">
          <p15:clr>
            <a:srgbClr val="FBAE40"/>
          </p15:clr>
        </p15:guide>
        <p15:guide id="3" pos="3750" userDrawn="1">
          <p15:clr>
            <a:srgbClr val="FBAE40"/>
          </p15:clr>
        </p15:guide>
        <p15:guide id="4" pos="2010" userDrawn="1">
          <p15:clr>
            <a:srgbClr val="FBAE40"/>
          </p15:clr>
        </p15:guide>
        <p15:guide id="5" pos="1926" userDrawn="1">
          <p15:clr>
            <a:srgbClr val="FBAE40"/>
          </p15:clr>
        </p15:guide>
        <p15:guide id="6" pos="3834" userDrawn="1">
          <p15:clr>
            <a:srgbClr val="FBAE40"/>
          </p15:clr>
        </p15:guide>
        <p15:guide id="7" pos="156" userDrawn="1">
          <p15:clr>
            <a:srgbClr val="FBAE40"/>
          </p15:clr>
        </p15:guide>
        <p15:guide id="8" pos="5604"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objOverTx" preserve="1">
  <p:cSld name="IFX_Row_and_Three_Columns">
    <p:spTree>
      <p:nvGrpSpPr>
        <p:cNvPr id="1" name=""/>
        <p:cNvGrpSpPr/>
        <p:nvPr/>
      </p:nvGrpSpPr>
      <p:grpSpPr>
        <a:xfrm>
          <a:off x="0" y="0"/>
          <a:ext cx="0" cy="0"/>
          <a:chOff x="0" y="0"/>
          <a:chExt cx="0" cy="0"/>
        </a:xfrm>
      </p:grpSpPr>
      <p:sp>
        <p:nvSpPr>
          <p:cNvPr id="12" name="empower_additionalText_placeholder" hidden="1">
            <a:extLst>
              <a:ext uri="{FF2B5EF4-FFF2-40B4-BE49-F238E27FC236}">
                <a16:creationId xmlns:a16="http://schemas.microsoft.com/office/drawing/2014/main" id="{488416C1-009C-4276-862C-859A39D89869}"/>
              </a:ext>
            </a:extLst>
          </p:cNvPr>
          <p:cNvSpPr txBox="1"/>
          <p:nvPr>
            <p:custDataLst>
              <p:tags r:id="rId1"/>
            </p:custDataLst>
          </p:nvPr>
        </p:nvSpPr>
        <p:spPr bwMode="auto">
          <a:xfrm>
            <a:off x="1898847" y="4867006"/>
            <a:ext cx="1296000" cy="271094"/>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sz="600" noProof="0">
              <a:latin typeface="+mn-lt"/>
              <a:ea typeface="+mn-ea"/>
              <a:cs typeface="+mn-cs"/>
            </a:endParaRPr>
          </a:p>
        </p:txBody>
      </p:sp>
      <p:sp>
        <p:nvSpPr>
          <p:cNvPr id="10" name="empower_document_placeholder" hidden="1">
            <a:extLst>
              <a:ext uri="{FF2B5EF4-FFF2-40B4-BE49-F238E27FC236}">
                <a16:creationId xmlns:a16="http://schemas.microsoft.com/office/drawing/2014/main" id="{B192327F-A51B-41E2-B3F1-79934B282903}"/>
              </a:ext>
            </a:extLst>
          </p:cNvPr>
          <p:cNvSpPr txBox="1"/>
          <p:nvPr>
            <p:custDataLst>
              <p:tags r:id="rId2"/>
            </p:custDataLst>
          </p:nvPr>
        </p:nvSpPr>
        <p:spPr bwMode="auto">
          <a:xfrm rot="16200000">
            <a:off x="8068416" y="3720253"/>
            <a:ext cx="1944000" cy="188119"/>
          </a:xfrm>
          <a:prstGeom prst="rect">
            <a:avLst/>
          </a:prstGeom>
          <a:noFill/>
          <a:ln w="9525">
            <a:noFill/>
            <a:miter lim="800000"/>
            <a:headEnd/>
            <a:tailEnd/>
          </a:ln>
          <a:effectLst/>
        </p:spPr>
        <p:txBody>
          <a:bodyPr wrap="none" lIns="0" tIns="0" rIns="0" bIns="0" rtlCol="0" anchor="ctr" anchorCtr="0">
            <a:noAutofit/>
          </a:bodyPr>
          <a:lstStyle/>
          <a:p>
            <a:pPr marL="0" marR="0" indent="0"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525" kern="0" noProof="0">
                <a:solidFill>
                  <a:srgbClr val="928285"/>
                </a:solidFill>
                <a:latin typeface="+mn-lt"/>
                <a:ea typeface="+mn-ea"/>
                <a:cs typeface="+mn-cs"/>
              </a:rPr>
              <a:t>[Owner:   Doc ID:   Vers.: ]</a:t>
            </a:r>
          </a:p>
        </p:txBody>
      </p:sp>
      <p:sp>
        <p:nvSpPr>
          <p:cNvPr id="16" name="empower_proprietary_placeholder" hidden="1">
            <a:extLst>
              <a:ext uri="{FF2B5EF4-FFF2-40B4-BE49-F238E27FC236}">
                <a16:creationId xmlns:a16="http://schemas.microsoft.com/office/drawing/2014/main" id="{EE529511-279F-4E8D-B98F-7745CB480D72}"/>
              </a:ext>
            </a:extLst>
          </p:cNvPr>
          <p:cNvSpPr txBox="1"/>
          <p:nvPr>
            <p:custDataLst>
              <p:tags r:id="rId3"/>
            </p:custDataLst>
          </p:nvPr>
        </p:nvSpPr>
        <p:spPr bwMode="auto">
          <a:xfrm>
            <a:off x="7083360" y="4867006"/>
            <a:ext cx="729000" cy="271094"/>
          </a:xfrm>
          <a:prstGeom prst="rect">
            <a:avLst/>
          </a:prstGeom>
          <a:noFill/>
          <a:ln w="9525">
            <a:noFill/>
            <a:miter lim="800000"/>
            <a:headEnd/>
            <a:tailEnd/>
          </a:ln>
          <a:effectLst/>
        </p:spPr>
        <p:txBody>
          <a:bodyPr wrap="none" lIns="0" tIns="0" rIns="0" bIns="0" rtlCol="0" anchor="ctr" anchorCtr="0">
            <a:noAutofit/>
          </a:bodyPr>
          <a:lstStyle/>
          <a:p>
            <a:pPr marL="0" marR="0" indent="0"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600" b="1" kern="0" noProof="0">
                <a:solidFill>
                  <a:srgbClr val="E30034"/>
                </a:solidFill>
                <a:latin typeface="+mn-lt"/>
                <a:ea typeface="+mn-ea"/>
                <a:cs typeface="+mn-cs"/>
              </a:rPr>
              <a:t>Infineon Proprietary</a:t>
            </a:r>
          </a:p>
        </p:txBody>
      </p:sp>
      <p:sp>
        <p:nvSpPr>
          <p:cNvPr id="18" name="empower_draft_placeholder" hidden="1">
            <a:extLst>
              <a:ext uri="{FF2B5EF4-FFF2-40B4-BE49-F238E27FC236}">
                <a16:creationId xmlns:a16="http://schemas.microsoft.com/office/drawing/2014/main" id="{7712C297-5B52-4E05-AEC3-8C81F2A74EE5}"/>
              </a:ext>
            </a:extLst>
          </p:cNvPr>
          <p:cNvSpPr txBox="1"/>
          <p:nvPr>
            <p:custDataLst>
              <p:tags r:id="rId4"/>
            </p:custDataLst>
          </p:nvPr>
        </p:nvSpPr>
        <p:spPr bwMode="auto">
          <a:xfrm>
            <a:off x="6570892" y="4867006"/>
            <a:ext cx="270272" cy="271094"/>
          </a:xfrm>
          <a:prstGeom prst="rect">
            <a:avLst/>
          </a:prstGeom>
          <a:noFill/>
          <a:ln w="9525">
            <a:noFill/>
            <a:miter lim="800000"/>
            <a:headEnd/>
            <a:tailEnd/>
          </a:ln>
          <a:effectLst/>
        </p:spPr>
        <p:txBody>
          <a:bodyPr wrap="none" lIns="0" tIns="0" rIns="0" bIns="0" rtlCol="0" anchor="ctr" anchorCtr="0">
            <a:noAutofit/>
          </a:bodyPr>
          <a:lstStyle/>
          <a:p>
            <a:pPr marL="0" marR="0" indent="0" algn="l"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600" b="1" kern="0" noProof="0">
                <a:solidFill>
                  <a:srgbClr val="E30034"/>
                </a:solidFill>
                <a:latin typeface="+mn-lt"/>
                <a:ea typeface="+mn-ea"/>
                <a:cs typeface="+mn-cs"/>
              </a:rPr>
              <a:t>- DRAFT -</a:t>
            </a:r>
          </a:p>
        </p:txBody>
      </p:sp>
      <p:sp>
        <p:nvSpPr>
          <p:cNvPr id="20" name="empower_footer_placeholder">
            <a:extLst>
              <a:ext uri="{FF2B5EF4-FFF2-40B4-BE49-F238E27FC236}">
                <a16:creationId xmlns:a16="http://schemas.microsoft.com/office/drawing/2014/main" id="{C492E0D9-97C5-4A27-B585-4460769C4D67}"/>
              </a:ext>
            </a:extLst>
          </p:cNvPr>
          <p:cNvSpPr txBox="1"/>
          <p:nvPr>
            <p:custDataLst>
              <p:tags r:id="rId5"/>
            </p:custDataLst>
          </p:nvPr>
        </p:nvSpPr>
        <p:spPr bwMode="auto">
          <a:xfrm>
            <a:off x="3410872" y="4867006"/>
            <a:ext cx="2322257" cy="271094"/>
          </a:xfrm>
          <a:prstGeom prst="rect">
            <a:avLst/>
          </a:prstGeom>
          <a:noFill/>
          <a:ln w="9525">
            <a:noFill/>
            <a:miter lim="800000"/>
            <a:headEnd/>
            <a:tailEnd/>
          </a:ln>
          <a:effectLst/>
        </p:spPr>
        <p:txBody>
          <a:bodyPr wrap="none" lIns="0" tIns="0" rIns="0" bIns="0" rtlCol="0" anchor="ctr" anchorCtr="0">
            <a:noAutofit/>
          </a:bodyPr>
          <a:lstStyle/>
          <a:p>
            <a:pPr marL="0" marR="0" indent="0" algn="ctr" defTabSz="685800" eaLnBrk="0" fontAlgn="auto" latinLnBrk="0" hangingPunct="0">
              <a:spcBef>
                <a:spcPts val="0"/>
              </a:spcBef>
              <a:spcAft>
                <a:spcPts val="225"/>
              </a:spcAft>
              <a:buClr>
                <a:schemeClr val="accent1"/>
              </a:buClr>
              <a:buSzTx/>
              <a:buFont typeface="Arial" panose="020B0604020202020204" pitchFamily="34" charset="0"/>
              <a:buNone/>
              <a:tabLst/>
            </a:pPr>
            <a:r>
              <a:rPr lang="en-GB" sz="600" kern="0" noProof="0">
                <a:solidFill>
                  <a:srgbClr val="928285"/>
                </a:solidFill>
                <a:latin typeface="+mn-lt"/>
                <a:ea typeface="+mn-ea"/>
                <a:cs typeface="+mn-cs"/>
              </a:rPr>
              <a:t>Copyright © Infineon Technologies AG 2022. All rights reserved.</a:t>
            </a:r>
            <a:endParaRPr lang="en-US" sz="600" kern="0" noProof="0">
              <a:solidFill>
                <a:srgbClr val="928285"/>
              </a:solidFill>
              <a:latin typeface="+mn-lt"/>
              <a:ea typeface="+mn-ea"/>
              <a:cs typeface="+mn-cs"/>
            </a:endParaRPr>
          </a:p>
        </p:txBody>
      </p:sp>
      <p:sp>
        <p:nvSpPr>
          <p:cNvPr id="22" name="empower_classification_attention_placeholder" hidden="1">
            <a:extLst>
              <a:ext uri="{FF2B5EF4-FFF2-40B4-BE49-F238E27FC236}">
                <a16:creationId xmlns:a16="http://schemas.microsoft.com/office/drawing/2014/main" id="{EB4DD739-504C-48CA-BA98-DEE0B3A91EAB}"/>
              </a:ext>
            </a:extLst>
          </p:cNvPr>
          <p:cNvSpPr txBox="1">
            <a:spLocks/>
          </p:cNvSpPr>
          <p:nvPr>
            <p:custDataLst>
              <p:tags r:id="rId6"/>
            </p:custDataLst>
          </p:nvPr>
        </p:nvSpPr>
        <p:spPr bwMode="auto">
          <a:xfrm>
            <a:off x="928642" y="4867006"/>
            <a:ext cx="728891" cy="271094"/>
          </a:xfrm>
          <a:prstGeom prst="rect">
            <a:avLst/>
          </a:prstGeom>
          <a:noFill/>
          <a:ln w="9525">
            <a:noFill/>
            <a:miter lim="800000"/>
            <a:headEnd/>
            <a:tailEnd/>
          </a:ln>
          <a:effectLst/>
        </p:spPr>
        <p:txBody>
          <a:bodyPr wrap="none" lIns="0" tIns="0" rIns="0" bIns="0" rtlCol="0" anchor="ctr" anchorCtr="0">
            <a:noAutofit/>
          </a:bodyPr>
          <a:lstStyle/>
          <a:p>
            <a:pPr marL="0" marR="0" indent="0" algn="l"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600" b="1" kern="0" noProof="0">
                <a:solidFill>
                  <a:srgbClr val="E30034"/>
                </a:solidFill>
                <a:latin typeface="+mn-lt"/>
                <a:ea typeface="+mn-ea"/>
                <a:cs typeface="+mn-cs"/>
              </a:rPr>
              <a:t>Restricted</a:t>
            </a:r>
          </a:p>
        </p:txBody>
      </p:sp>
      <p:sp>
        <p:nvSpPr>
          <p:cNvPr id="24" name="empower_classification_placeholder">
            <a:extLst>
              <a:ext uri="{FF2B5EF4-FFF2-40B4-BE49-F238E27FC236}">
                <a16:creationId xmlns:a16="http://schemas.microsoft.com/office/drawing/2014/main" id="{D547197E-1EC3-47AA-B644-4B7771421A2B}"/>
              </a:ext>
            </a:extLst>
          </p:cNvPr>
          <p:cNvSpPr txBox="1"/>
          <p:nvPr>
            <p:custDataLst>
              <p:tags r:id="rId7"/>
            </p:custDataLst>
          </p:nvPr>
        </p:nvSpPr>
        <p:spPr bwMode="auto">
          <a:xfrm>
            <a:off x="928642" y="4867006"/>
            <a:ext cx="729938" cy="271094"/>
          </a:xfrm>
          <a:prstGeom prst="rect">
            <a:avLst/>
          </a:prstGeom>
          <a:noFill/>
          <a:ln w="9525">
            <a:noFill/>
            <a:miter lim="800000"/>
            <a:headEnd/>
            <a:tailEnd/>
          </a:ln>
          <a:effectLst/>
        </p:spPr>
        <p:txBody>
          <a:bodyPr wrap="none" lIns="0" tIns="0" rIns="0" bIns="0" rtlCol="0" anchor="ctr" anchorCtr="0">
            <a:noAutofit/>
          </a:bodyPr>
          <a:lstStyle/>
          <a:p>
            <a:pPr marL="0" marR="0" indent="0" algn="l"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600" b="1" kern="0" noProof="0">
                <a:solidFill>
                  <a:srgbClr val="928285"/>
                </a:solidFill>
                <a:latin typeface="+mn-lt"/>
                <a:ea typeface="+mn-ea"/>
                <a:cs typeface="+mn-cs"/>
              </a:rPr>
              <a:t>restricted</a:t>
            </a:r>
          </a:p>
        </p:txBody>
      </p:sp>
      <p:sp>
        <p:nvSpPr>
          <p:cNvPr id="26" name="empower_date_placeholder">
            <a:extLst>
              <a:ext uri="{FF2B5EF4-FFF2-40B4-BE49-F238E27FC236}">
                <a16:creationId xmlns:a16="http://schemas.microsoft.com/office/drawing/2014/main" id="{5B4084F1-8114-4C22-84F5-3D14817A7904}"/>
              </a:ext>
            </a:extLst>
          </p:cNvPr>
          <p:cNvSpPr txBox="1"/>
          <p:nvPr>
            <p:custDataLst>
              <p:tags r:id="rId8"/>
            </p:custDataLst>
          </p:nvPr>
        </p:nvSpPr>
        <p:spPr bwMode="auto">
          <a:xfrm>
            <a:off x="251222" y="4867006"/>
            <a:ext cx="459000" cy="271094"/>
          </a:xfrm>
          <a:prstGeom prst="rect">
            <a:avLst/>
          </a:prstGeom>
          <a:noFill/>
          <a:ln w="9525">
            <a:noFill/>
            <a:miter lim="800000"/>
            <a:headEnd/>
            <a:tailEnd/>
          </a:ln>
          <a:effectLst/>
        </p:spPr>
        <p:txBody>
          <a:bodyPr wrap="none" lIns="0" tIns="0" rIns="0" bIns="0" rtlCol="0" anchor="ctr" anchorCtr="0">
            <a:noAutofit/>
          </a:bodyPr>
          <a:lstStyle/>
          <a:p>
            <a:pPr marL="0" marR="0" indent="0"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600" kern="0" noProof="0">
                <a:solidFill>
                  <a:srgbClr val="928285"/>
                </a:solidFill>
                <a:latin typeface="+mn-lt"/>
                <a:ea typeface="+mn-ea"/>
                <a:cs typeface="+mn-cs"/>
              </a:rPr>
              <a:t>2022-07-16</a:t>
            </a:r>
          </a:p>
        </p:txBody>
      </p:sp>
      <p:sp>
        <p:nvSpPr>
          <p:cNvPr id="7" name="Content Top"/>
          <p:cNvSpPr>
            <a:spLocks noGrp="1"/>
          </p:cNvSpPr>
          <p:nvPr>
            <p:ph sz="quarter" idx="13" hasCustomPrompt="1"/>
          </p:nvPr>
        </p:nvSpPr>
        <p:spPr>
          <a:xfrm>
            <a:off x="251100" y="951311"/>
            <a:ext cx="8640960" cy="1026319"/>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stStyle>
          <a:p>
            <a:pPr lvl="0"/>
            <a:r>
              <a:rPr lang="en-US" noProof="0"/>
              <a:t>Click to edit text</a:t>
            </a:r>
          </a:p>
          <a:p>
            <a:pPr lvl="1"/>
            <a:r>
              <a:rPr lang="en-US" noProof="0"/>
              <a:t>Second level</a:t>
            </a:r>
          </a:p>
          <a:p>
            <a:pPr lvl="2"/>
            <a:r>
              <a:rPr lang="en-US" noProof="0"/>
              <a:t>Third level</a:t>
            </a:r>
          </a:p>
        </p:txBody>
      </p:sp>
      <p:sp>
        <p:nvSpPr>
          <p:cNvPr id="9" name="Content Left"/>
          <p:cNvSpPr>
            <a:spLocks noGrp="1"/>
          </p:cNvSpPr>
          <p:nvPr>
            <p:ph sz="quarter" idx="14" hasCustomPrompt="1"/>
          </p:nvPr>
        </p:nvSpPr>
        <p:spPr>
          <a:xfrm>
            <a:off x="251100" y="2085975"/>
            <a:ext cx="2808000" cy="2700338"/>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vl4pPr>
              <a:spcAft>
                <a:spcPts val="0"/>
              </a:spcAft>
              <a:defRPr>
                <a:latin typeface="+mn-lt"/>
                <a:ea typeface="+mn-ea"/>
                <a:cs typeface="+mn-cs"/>
              </a:defRPr>
            </a:lvl4pPr>
            <a:lvl5pPr>
              <a:spcAft>
                <a:spcPts val="0"/>
              </a:spcAft>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Center"/>
          <p:cNvSpPr>
            <a:spLocks noGrp="1"/>
          </p:cNvSpPr>
          <p:nvPr>
            <p:ph sz="quarter" idx="15" hasCustomPrompt="1"/>
          </p:nvPr>
        </p:nvSpPr>
        <p:spPr>
          <a:xfrm>
            <a:off x="3194447" y="2085975"/>
            <a:ext cx="2755106" cy="2700338"/>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vl4pPr>
              <a:spcAft>
                <a:spcPts val="0"/>
              </a:spcAft>
              <a:defRPr>
                <a:latin typeface="+mn-lt"/>
                <a:ea typeface="+mn-ea"/>
                <a:cs typeface="+mn-cs"/>
              </a:defRPr>
            </a:lvl4pPr>
            <a:lvl5pPr>
              <a:spcAft>
                <a:spcPts val="0"/>
              </a:spcAft>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Right"/>
          <p:cNvSpPr>
            <a:spLocks noGrp="1"/>
          </p:cNvSpPr>
          <p:nvPr>
            <p:ph sz="quarter" idx="16" hasCustomPrompt="1"/>
          </p:nvPr>
        </p:nvSpPr>
        <p:spPr>
          <a:xfrm>
            <a:off x="6084890" y="2085975"/>
            <a:ext cx="2808287" cy="2700338"/>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vl4pPr>
              <a:spcAft>
                <a:spcPts val="0"/>
              </a:spcAft>
              <a:defRPr>
                <a:latin typeface="+mn-lt"/>
                <a:ea typeface="+mn-ea"/>
                <a:cs typeface="+mn-cs"/>
              </a:defRPr>
            </a:lvl4pPr>
            <a:lvl5pPr>
              <a:spcAft>
                <a:spcPts val="0"/>
              </a:spcAft>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itle">
            <a:extLst>
              <a:ext uri="{FF2B5EF4-FFF2-40B4-BE49-F238E27FC236}">
                <a16:creationId xmlns:a16="http://schemas.microsoft.com/office/drawing/2014/main" id="{6C581746-1B2C-4D98-9755-6221A3ED9E38}"/>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7AAAECD1-71D2-46B6-BF2D-6007823BA888}"/>
              </a:ext>
            </a:extLst>
          </p:cNvPr>
          <p:cNvSpPr/>
          <p:nvPr>
            <p:custDataLst>
              <p:tags r:id="rId9"/>
            </p:custDataLst>
          </p:nvPr>
        </p:nvSpPr>
        <p:spPr bwMode="auto">
          <a:xfrm>
            <a:off x="7598463" y="1"/>
            <a:ext cx="1545538" cy="627534"/>
          </a:xfrm>
          <a:prstGeom prst="rect">
            <a:avLst/>
          </a:prstGeom>
          <a:solidFill>
            <a:schemeClr val="accent3">
              <a:alpha val="50000"/>
            </a:schemeClr>
          </a:solidFill>
          <a:ln w="9525">
            <a:noFill/>
            <a:miter lim="800000"/>
            <a:headEnd/>
            <a:tailEnd/>
          </a:ln>
        </p:spPr>
        <p:txBody>
          <a:bodyPr wrap="square" lIns="54000" tIns="54000" rIns="54000" bIns="54000" rtlCol="0" anchor="ctr"/>
          <a:lstStyle/>
          <a:p>
            <a:pPr algn="ctr" eaLnBrk="0" hangingPunct="0"/>
            <a:endParaRPr lang="en-US" sz="1200" noProof="0">
              <a:latin typeface="+mn-lt"/>
              <a:ea typeface="+mn-ea"/>
              <a:cs typeface="+mn-cs"/>
            </a:endParaRPr>
          </a:p>
        </p:txBody>
      </p:sp>
      <p:sp>
        <p:nvSpPr>
          <p:cNvPr id="2" name="Date Placeholder 1">
            <a:extLst>
              <a:ext uri="{FF2B5EF4-FFF2-40B4-BE49-F238E27FC236}">
                <a16:creationId xmlns:a16="http://schemas.microsoft.com/office/drawing/2014/main" id="{EA8AF054-4363-4E54-A605-8A5E7CD05422}"/>
              </a:ext>
            </a:extLst>
          </p:cNvPr>
          <p:cNvSpPr>
            <a:spLocks noGrp="1"/>
          </p:cNvSpPr>
          <p:nvPr>
            <p:ph type="dt" sz="half" idx="17"/>
          </p:nvPr>
        </p:nvSpPr>
        <p:spPr/>
        <p:txBody>
          <a:bodyPr/>
          <a:lstStyle/>
          <a:p>
            <a:endParaRPr lang="en-US" b="1" dirty="0"/>
          </a:p>
        </p:txBody>
      </p:sp>
      <p:sp>
        <p:nvSpPr>
          <p:cNvPr id="14" name="Footer Placeholder 13">
            <a:extLst>
              <a:ext uri="{FF2B5EF4-FFF2-40B4-BE49-F238E27FC236}">
                <a16:creationId xmlns:a16="http://schemas.microsoft.com/office/drawing/2014/main" id="{C839DAF8-6F4C-441B-B45B-348B7EA8B4B3}"/>
              </a:ext>
            </a:extLst>
          </p:cNvPr>
          <p:cNvSpPr>
            <a:spLocks noGrp="1"/>
          </p:cNvSpPr>
          <p:nvPr>
            <p:ph type="ftr" sz="quarter" idx="18"/>
          </p:nvPr>
        </p:nvSpPr>
        <p:spPr/>
        <p:txBody>
          <a:bodyPr/>
          <a:lstStyle/>
          <a:p>
            <a:endParaRPr lang="en-US" dirty="0"/>
          </a:p>
        </p:txBody>
      </p:sp>
      <p:sp>
        <p:nvSpPr>
          <p:cNvPr id="15" name="Slide Number Placeholder 14" hidden="1">
            <a:extLst>
              <a:ext uri="{FF2B5EF4-FFF2-40B4-BE49-F238E27FC236}">
                <a16:creationId xmlns:a16="http://schemas.microsoft.com/office/drawing/2014/main" id="{0CBA086A-526B-43F0-BEDE-EC3219CC7834}"/>
              </a:ext>
            </a:extLst>
          </p:cNvPr>
          <p:cNvSpPr>
            <a:spLocks noGrp="1"/>
          </p:cNvSpPr>
          <p:nvPr>
            <p:ph type="sldNum" sz="quarter" idx="19"/>
          </p:nvPr>
        </p:nvSpPr>
        <p:spPr/>
        <p:txBody>
          <a:bodyPr/>
          <a:lstStyle/>
          <a:p>
            <a:r>
              <a:rPr lang="en-US"/>
              <a:t> </a:t>
            </a:r>
            <a:endParaRPr lang="en-US" dirty="0"/>
          </a:p>
        </p:txBody>
      </p:sp>
    </p:spTree>
    <p:extLst>
      <p:ext uri="{BB962C8B-B14F-4D97-AF65-F5344CB8AC3E}">
        <p14:creationId xmlns:p14="http://schemas.microsoft.com/office/powerpoint/2010/main" val="3524327912"/>
      </p:ext>
    </p:extLst>
  </p:cSld>
  <p:clrMapOvr>
    <a:masterClrMapping/>
  </p:clrMapOvr>
  <p:hf hdr="0"/>
  <p:extLst mod="1">
    <p:ext uri="{DCECCB84-F9BA-43D5-87BE-67443E8EF086}">
      <p15:sldGuideLst xmlns:p15="http://schemas.microsoft.com/office/powerpoint/2012/main">
        <p15:guide id="1" pos="3750" userDrawn="1">
          <p15:clr>
            <a:srgbClr val="FBAE40"/>
          </p15:clr>
        </p15:guide>
        <p15:guide id="2" pos="3834" userDrawn="1">
          <p15:clr>
            <a:srgbClr val="FBAE40"/>
          </p15:clr>
        </p15:guide>
        <p15:guide id="3" pos="5604" userDrawn="1">
          <p15:clr>
            <a:srgbClr val="FBAE40"/>
          </p15:clr>
        </p15:guide>
        <p15:guide id="4" pos="2010" userDrawn="1">
          <p15:clr>
            <a:srgbClr val="FBAE40"/>
          </p15:clr>
        </p15:guide>
        <p15:guide id="5" pos="1926" userDrawn="1">
          <p15:clr>
            <a:srgbClr val="FBAE40"/>
          </p15:clr>
        </p15:guide>
        <p15:guide id="6" pos="156" userDrawn="1">
          <p15:clr>
            <a:srgbClr val="FBAE40"/>
          </p15:clr>
        </p15:guide>
        <p15:guide id="7" orient="horz" pos="600" userDrawn="1">
          <p15:clr>
            <a:srgbClr val="FBAE40"/>
          </p15:clr>
        </p15:guide>
        <p15:guide id="8" orient="horz" pos="3018" userDrawn="1">
          <p15:clr>
            <a:srgbClr val="FBAE40"/>
          </p15:clr>
        </p15:guide>
        <p15:guide id="9" orient="horz" pos="1248" userDrawn="1">
          <p15:clr>
            <a:srgbClr val="FBAE40"/>
          </p15:clr>
        </p15:guide>
        <p15:guide id="10" orient="horz" pos="1314"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txAndMedia" preserve="1">
  <p:cSld name="IFX_Four_Columns">
    <p:spTree>
      <p:nvGrpSpPr>
        <p:cNvPr id="1" name=""/>
        <p:cNvGrpSpPr/>
        <p:nvPr/>
      </p:nvGrpSpPr>
      <p:grpSpPr>
        <a:xfrm>
          <a:off x="0" y="0"/>
          <a:ext cx="0" cy="0"/>
          <a:chOff x="0" y="0"/>
          <a:chExt cx="0" cy="0"/>
        </a:xfrm>
      </p:grpSpPr>
      <p:sp>
        <p:nvSpPr>
          <p:cNvPr id="11" name="empower_additionalText_placeholder" hidden="1">
            <a:extLst>
              <a:ext uri="{FF2B5EF4-FFF2-40B4-BE49-F238E27FC236}">
                <a16:creationId xmlns:a16="http://schemas.microsoft.com/office/drawing/2014/main" id="{5BFFD0DD-DDFD-422B-86D9-F164E68C0538}"/>
              </a:ext>
            </a:extLst>
          </p:cNvPr>
          <p:cNvSpPr txBox="1"/>
          <p:nvPr>
            <p:custDataLst>
              <p:tags r:id="rId1"/>
            </p:custDataLst>
          </p:nvPr>
        </p:nvSpPr>
        <p:spPr bwMode="auto">
          <a:xfrm>
            <a:off x="1898847" y="4867006"/>
            <a:ext cx="1296000" cy="271094"/>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sz="600" noProof="0">
              <a:latin typeface="+mn-lt"/>
              <a:ea typeface="+mn-ea"/>
              <a:cs typeface="+mn-cs"/>
            </a:endParaRPr>
          </a:p>
        </p:txBody>
      </p:sp>
      <p:sp>
        <p:nvSpPr>
          <p:cNvPr id="5" name="empower_document_placeholder" hidden="1">
            <a:extLst>
              <a:ext uri="{FF2B5EF4-FFF2-40B4-BE49-F238E27FC236}">
                <a16:creationId xmlns:a16="http://schemas.microsoft.com/office/drawing/2014/main" id="{DF070F93-7F88-456A-894C-885F8AC591A3}"/>
              </a:ext>
            </a:extLst>
          </p:cNvPr>
          <p:cNvSpPr txBox="1"/>
          <p:nvPr>
            <p:custDataLst>
              <p:tags r:id="rId2"/>
            </p:custDataLst>
          </p:nvPr>
        </p:nvSpPr>
        <p:spPr bwMode="auto">
          <a:xfrm rot="16200000">
            <a:off x="8068416" y="3720253"/>
            <a:ext cx="1944000" cy="188119"/>
          </a:xfrm>
          <a:prstGeom prst="rect">
            <a:avLst/>
          </a:prstGeom>
          <a:noFill/>
          <a:ln w="9525">
            <a:noFill/>
            <a:miter lim="800000"/>
            <a:headEnd/>
            <a:tailEnd/>
          </a:ln>
          <a:effectLst/>
        </p:spPr>
        <p:txBody>
          <a:bodyPr wrap="none" lIns="0" tIns="0" rIns="0" bIns="0" rtlCol="0" anchor="ctr" anchorCtr="0">
            <a:noAutofit/>
          </a:bodyPr>
          <a:lstStyle/>
          <a:p>
            <a:pPr marL="0" marR="0" indent="0"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525" kern="0" noProof="0">
                <a:solidFill>
                  <a:srgbClr val="928285"/>
                </a:solidFill>
                <a:latin typeface="+mn-lt"/>
                <a:ea typeface="+mn-ea"/>
                <a:cs typeface="+mn-cs"/>
              </a:rPr>
              <a:t>[Owner:   Doc ID:   Vers.: ]</a:t>
            </a:r>
          </a:p>
        </p:txBody>
      </p:sp>
      <p:sp>
        <p:nvSpPr>
          <p:cNvPr id="6" name="empower_proprietary_placeholder" hidden="1">
            <a:extLst>
              <a:ext uri="{FF2B5EF4-FFF2-40B4-BE49-F238E27FC236}">
                <a16:creationId xmlns:a16="http://schemas.microsoft.com/office/drawing/2014/main" id="{9A5FF993-F527-4569-A066-E8D346767DE0}"/>
              </a:ext>
            </a:extLst>
          </p:cNvPr>
          <p:cNvSpPr txBox="1"/>
          <p:nvPr>
            <p:custDataLst>
              <p:tags r:id="rId3"/>
            </p:custDataLst>
          </p:nvPr>
        </p:nvSpPr>
        <p:spPr bwMode="auto">
          <a:xfrm>
            <a:off x="7083360" y="4867006"/>
            <a:ext cx="729000" cy="271094"/>
          </a:xfrm>
          <a:prstGeom prst="rect">
            <a:avLst/>
          </a:prstGeom>
          <a:noFill/>
          <a:ln w="9525">
            <a:noFill/>
            <a:miter lim="800000"/>
            <a:headEnd/>
            <a:tailEnd/>
          </a:ln>
          <a:effectLst/>
        </p:spPr>
        <p:txBody>
          <a:bodyPr wrap="none" lIns="0" tIns="0" rIns="0" bIns="0" rtlCol="0" anchor="ctr" anchorCtr="0">
            <a:noAutofit/>
          </a:bodyPr>
          <a:lstStyle/>
          <a:p>
            <a:pPr marL="0" marR="0" indent="0"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600" b="1" kern="0" noProof="0">
                <a:solidFill>
                  <a:srgbClr val="E30034"/>
                </a:solidFill>
                <a:latin typeface="+mn-lt"/>
                <a:ea typeface="+mn-ea"/>
                <a:cs typeface="+mn-cs"/>
              </a:rPr>
              <a:t>Infineon Proprietary</a:t>
            </a:r>
          </a:p>
        </p:txBody>
      </p:sp>
      <p:sp>
        <p:nvSpPr>
          <p:cNvPr id="7" name="empower_draft_placeholder" hidden="1">
            <a:extLst>
              <a:ext uri="{FF2B5EF4-FFF2-40B4-BE49-F238E27FC236}">
                <a16:creationId xmlns:a16="http://schemas.microsoft.com/office/drawing/2014/main" id="{709C3987-21ED-4B60-B90F-837FB1F2A7A5}"/>
              </a:ext>
            </a:extLst>
          </p:cNvPr>
          <p:cNvSpPr txBox="1"/>
          <p:nvPr>
            <p:custDataLst>
              <p:tags r:id="rId4"/>
            </p:custDataLst>
          </p:nvPr>
        </p:nvSpPr>
        <p:spPr bwMode="auto">
          <a:xfrm>
            <a:off x="6570892" y="4867006"/>
            <a:ext cx="270272" cy="271094"/>
          </a:xfrm>
          <a:prstGeom prst="rect">
            <a:avLst/>
          </a:prstGeom>
          <a:noFill/>
          <a:ln w="9525">
            <a:noFill/>
            <a:miter lim="800000"/>
            <a:headEnd/>
            <a:tailEnd/>
          </a:ln>
          <a:effectLst/>
        </p:spPr>
        <p:txBody>
          <a:bodyPr wrap="none" lIns="0" tIns="0" rIns="0" bIns="0" rtlCol="0" anchor="ctr" anchorCtr="0">
            <a:noAutofit/>
          </a:bodyPr>
          <a:lstStyle/>
          <a:p>
            <a:pPr marL="0" marR="0" indent="0" algn="l"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600" b="1" kern="0" noProof="0">
                <a:solidFill>
                  <a:srgbClr val="E30034"/>
                </a:solidFill>
                <a:latin typeface="+mn-lt"/>
                <a:ea typeface="+mn-ea"/>
                <a:cs typeface="+mn-cs"/>
              </a:rPr>
              <a:t>- DRAFT -</a:t>
            </a:r>
          </a:p>
        </p:txBody>
      </p:sp>
      <p:sp>
        <p:nvSpPr>
          <p:cNvPr id="9" name="empower_footer_placeholder">
            <a:extLst>
              <a:ext uri="{FF2B5EF4-FFF2-40B4-BE49-F238E27FC236}">
                <a16:creationId xmlns:a16="http://schemas.microsoft.com/office/drawing/2014/main" id="{C33D0117-4C9D-47FC-BBAF-7D90814DB7C7}"/>
              </a:ext>
            </a:extLst>
          </p:cNvPr>
          <p:cNvSpPr txBox="1"/>
          <p:nvPr>
            <p:custDataLst>
              <p:tags r:id="rId5"/>
            </p:custDataLst>
          </p:nvPr>
        </p:nvSpPr>
        <p:spPr bwMode="auto">
          <a:xfrm>
            <a:off x="3410872" y="4867006"/>
            <a:ext cx="2322257" cy="271094"/>
          </a:xfrm>
          <a:prstGeom prst="rect">
            <a:avLst/>
          </a:prstGeom>
          <a:noFill/>
          <a:ln w="9525">
            <a:noFill/>
            <a:miter lim="800000"/>
            <a:headEnd/>
            <a:tailEnd/>
          </a:ln>
          <a:effectLst/>
        </p:spPr>
        <p:txBody>
          <a:bodyPr wrap="none" lIns="0" tIns="0" rIns="0" bIns="0" rtlCol="0" anchor="ctr" anchorCtr="0">
            <a:noAutofit/>
          </a:bodyPr>
          <a:lstStyle/>
          <a:p>
            <a:pPr marL="0" marR="0" indent="0" algn="ctr" defTabSz="685800" eaLnBrk="0" fontAlgn="auto" latinLnBrk="0" hangingPunct="0">
              <a:spcBef>
                <a:spcPts val="0"/>
              </a:spcBef>
              <a:spcAft>
                <a:spcPts val="225"/>
              </a:spcAft>
              <a:buClr>
                <a:schemeClr val="accent1"/>
              </a:buClr>
              <a:buSzTx/>
              <a:buFont typeface="Arial" panose="020B0604020202020204" pitchFamily="34" charset="0"/>
              <a:buNone/>
              <a:tabLst/>
            </a:pPr>
            <a:r>
              <a:rPr lang="en-GB" sz="600" kern="0" noProof="0">
                <a:solidFill>
                  <a:srgbClr val="928285"/>
                </a:solidFill>
                <a:latin typeface="+mn-lt"/>
                <a:ea typeface="+mn-ea"/>
                <a:cs typeface="+mn-cs"/>
              </a:rPr>
              <a:t>Copyright © Infineon Technologies AG 2022. All rights reserved.</a:t>
            </a:r>
            <a:endParaRPr lang="en-US" sz="600" kern="0" noProof="0">
              <a:solidFill>
                <a:srgbClr val="928285"/>
              </a:solidFill>
              <a:latin typeface="+mn-lt"/>
              <a:ea typeface="+mn-ea"/>
              <a:cs typeface="+mn-cs"/>
            </a:endParaRPr>
          </a:p>
        </p:txBody>
      </p:sp>
      <p:sp>
        <p:nvSpPr>
          <p:cNvPr id="10" name="empower_classification_attention_placeholder" hidden="1">
            <a:extLst>
              <a:ext uri="{FF2B5EF4-FFF2-40B4-BE49-F238E27FC236}">
                <a16:creationId xmlns:a16="http://schemas.microsoft.com/office/drawing/2014/main" id="{40F47B66-9156-4480-85AF-99EB0563F553}"/>
              </a:ext>
            </a:extLst>
          </p:cNvPr>
          <p:cNvSpPr txBox="1"/>
          <p:nvPr>
            <p:custDataLst>
              <p:tags r:id="rId6"/>
            </p:custDataLst>
          </p:nvPr>
        </p:nvSpPr>
        <p:spPr bwMode="auto">
          <a:xfrm>
            <a:off x="928642" y="4867006"/>
            <a:ext cx="728891" cy="271094"/>
          </a:xfrm>
          <a:prstGeom prst="rect">
            <a:avLst/>
          </a:prstGeom>
          <a:noFill/>
          <a:ln w="9525">
            <a:noFill/>
            <a:miter lim="800000"/>
            <a:headEnd/>
            <a:tailEnd/>
          </a:ln>
          <a:effectLst/>
        </p:spPr>
        <p:txBody>
          <a:bodyPr wrap="none" lIns="0" tIns="0" rIns="0" bIns="0" rtlCol="0" anchor="ctr" anchorCtr="0">
            <a:noAutofit/>
          </a:bodyPr>
          <a:lstStyle/>
          <a:p>
            <a:pPr marL="0" marR="0" indent="0" algn="l"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600" b="1" kern="0" noProof="0">
                <a:solidFill>
                  <a:srgbClr val="E30034"/>
                </a:solidFill>
                <a:latin typeface="+mn-lt"/>
                <a:ea typeface="+mn-ea"/>
                <a:cs typeface="+mn-cs"/>
              </a:rPr>
              <a:t>Restricted</a:t>
            </a:r>
          </a:p>
        </p:txBody>
      </p:sp>
      <p:sp>
        <p:nvSpPr>
          <p:cNvPr id="14" name="empower_classification_placeholder">
            <a:extLst>
              <a:ext uri="{FF2B5EF4-FFF2-40B4-BE49-F238E27FC236}">
                <a16:creationId xmlns:a16="http://schemas.microsoft.com/office/drawing/2014/main" id="{B1D76006-023D-437E-80D1-B8FC83CA1329}"/>
              </a:ext>
            </a:extLst>
          </p:cNvPr>
          <p:cNvSpPr txBox="1"/>
          <p:nvPr>
            <p:custDataLst>
              <p:tags r:id="rId7"/>
            </p:custDataLst>
          </p:nvPr>
        </p:nvSpPr>
        <p:spPr bwMode="auto">
          <a:xfrm>
            <a:off x="928642" y="4867006"/>
            <a:ext cx="729938" cy="271094"/>
          </a:xfrm>
          <a:prstGeom prst="rect">
            <a:avLst/>
          </a:prstGeom>
          <a:noFill/>
          <a:ln w="9525">
            <a:noFill/>
            <a:miter lim="800000"/>
            <a:headEnd/>
            <a:tailEnd/>
          </a:ln>
          <a:effectLst/>
        </p:spPr>
        <p:txBody>
          <a:bodyPr wrap="none" lIns="0" tIns="0" rIns="0" bIns="0" rtlCol="0" anchor="ctr" anchorCtr="0">
            <a:noAutofit/>
          </a:bodyPr>
          <a:lstStyle/>
          <a:p>
            <a:pPr marL="0" marR="0" indent="0" algn="l"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600" b="1" kern="0" noProof="0">
                <a:solidFill>
                  <a:srgbClr val="928285"/>
                </a:solidFill>
                <a:latin typeface="+mn-lt"/>
                <a:ea typeface="+mn-ea"/>
                <a:cs typeface="+mn-cs"/>
              </a:rPr>
              <a:t>restricted</a:t>
            </a:r>
          </a:p>
        </p:txBody>
      </p:sp>
      <p:sp>
        <p:nvSpPr>
          <p:cNvPr id="26" name="empower_date_placeholder">
            <a:extLst>
              <a:ext uri="{FF2B5EF4-FFF2-40B4-BE49-F238E27FC236}">
                <a16:creationId xmlns:a16="http://schemas.microsoft.com/office/drawing/2014/main" id="{71DC81B7-1CCA-48F9-8AB9-34BBC16340CF}"/>
              </a:ext>
            </a:extLst>
          </p:cNvPr>
          <p:cNvSpPr txBox="1"/>
          <p:nvPr>
            <p:custDataLst>
              <p:tags r:id="rId8"/>
            </p:custDataLst>
          </p:nvPr>
        </p:nvSpPr>
        <p:spPr bwMode="auto">
          <a:xfrm>
            <a:off x="251222" y="4867006"/>
            <a:ext cx="459000" cy="271094"/>
          </a:xfrm>
          <a:prstGeom prst="rect">
            <a:avLst/>
          </a:prstGeom>
          <a:noFill/>
          <a:ln w="9525">
            <a:noFill/>
            <a:miter lim="800000"/>
            <a:headEnd/>
            <a:tailEnd/>
          </a:ln>
          <a:effectLst/>
        </p:spPr>
        <p:txBody>
          <a:bodyPr wrap="none" lIns="0" tIns="0" rIns="0" bIns="0" rtlCol="0" anchor="ctr" anchorCtr="0">
            <a:noAutofit/>
          </a:bodyPr>
          <a:lstStyle/>
          <a:p>
            <a:pPr marL="0" marR="0" indent="0"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600" kern="0" noProof="0">
                <a:solidFill>
                  <a:srgbClr val="928285"/>
                </a:solidFill>
                <a:latin typeface="+mn-lt"/>
                <a:ea typeface="+mn-ea"/>
                <a:cs typeface="+mn-cs"/>
              </a:rPr>
              <a:t>2022-07-16</a:t>
            </a:r>
          </a:p>
        </p:txBody>
      </p:sp>
      <p:sp>
        <p:nvSpPr>
          <p:cNvPr id="8" name="Content Left">
            <a:extLst>
              <a:ext uri="{FF2B5EF4-FFF2-40B4-BE49-F238E27FC236}">
                <a16:creationId xmlns:a16="http://schemas.microsoft.com/office/drawing/2014/main" id="{371B7856-37AA-4EBD-9A28-1045DC90A92A}"/>
              </a:ext>
            </a:extLst>
          </p:cNvPr>
          <p:cNvSpPr>
            <a:spLocks noGrp="1"/>
          </p:cNvSpPr>
          <p:nvPr>
            <p:ph sz="quarter" idx="20" hasCustomPrompt="1"/>
          </p:nvPr>
        </p:nvSpPr>
        <p:spPr>
          <a:xfrm>
            <a:off x="251099" y="951310"/>
            <a:ext cx="2106000" cy="3835004"/>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Content Center Left">
            <a:extLst>
              <a:ext uri="{FF2B5EF4-FFF2-40B4-BE49-F238E27FC236}">
                <a16:creationId xmlns:a16="http://schemas.microsoft.com/office/drawing/2014/main" id="{AB4408A9-DF90-4D32-8AE8-9278539718C0}"/>
              </a:ext>
            </a:extLst>
          </p:cNvPr>
          <p:cNvSpPr>
            <a:spLocks noGrp="1"/>
          </p:cNvSpPr>
          <p:nvPr>
            <p:ph sz="quarter" idx="21" hasCustomPrompt="1"/>
          </p:nvPr>
        </p:nvSpPr>
        <p:spPr>
          <a:xfrm>
            <a:off x="2493169" y="951310"/>
            <a:ext cx="1997869" cy="3835004"/>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Center Right">
            <a:extLst>
              <a:ext uri="{FF2B5EF4-FFF2-40B4-BE49-F238E27FC236}">
                <a16:creationId xmlns:a16="http://schemas.microsoft.com/office/drawing/2014/main" id="{FFF96914-9970-46DB-82A4-AB1B80110378}"/>
              </a:ext>
            </a:extLst>
          </p:cNvPr>
          <p:cNvSpPr>
            <a:spLocks noGrp="1"/>
          </p:cNvSpPr>
          <p:nvPr>
            <p:ph sz="quarter" idx="22" hasCustomPrompt="1"/>
          </p:nvPr>
        </p:nvSpPr>
        <p:spPr>
          <a:xfrm>
            <a:off x="4652963" y="951310"/>
            <a:ext cx="1997869" cy="3835004"/>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Content Right">
            <a:extLst>
              <a:ext uri="{FF2B5EF4-FFF2-40B4-BE49-F238E27FC236}">
                <a16:creationId xmlns:a16="http://schemas.microsoft.com/office/drawing/2014/main" id="{6803C6B1-D864-4BE6-AE1F-CA280F4DABD8}"/>
              </a:ext>
            </a:extLst>
          </p:cNvPr>
          <p:cNvSpPr>
            <a:spLocks noGrp="1"/>
          </p:cNvSpPr>
          <p:nvPr>
            <p:ph sz="quarter" idx="23" hasCustomPrompt="1"/>
          </p:nvPr>
        </p:nvSpPr>
        <p:spPr>
          <a:xfrm>
            <a:off x="6786563" y="951310"/>
            <a:ext cx="2105695" cy="3835004"/>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itle">
            <a:extLst>
              <a:ext uri="{FF2B5EF4-FFF2-40B4-BE49-F238E27FC236}">
                <a16:creationId xmlns:a16="http://schemas.microsoft.com/office/drawing/2014/main" id="{CDD773CC-FCEC-46C8-A75B-E70A26A7BF5B}"/>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4" name="LOGO PROTECTION" hidden="1">
            <a:extLst>
              <a:ext uri="{FF2B5EF4-FFF2-40B4-BE49-F238E27FC236}">
                <a16:creationId xmlns:a16="http://schemas.microsoft.com/office/drawing/2014/main" id="{FC67C23C-8514-4FAA-ABF5-040B63DA67C4}"/>
              </a:ext>
            </a:extLst>
          </p:cNvPr>
          <p:cNvSpPr/>
          <p:nvPr>
            <p:custDataLst>
              <p:tags r:id="rId9"/>
            </p:custDataLst>
          </p:nvPr>
        </p:nvSpPr>
        <p:spPr bwMode="auto">
          <a:xfrm>
            <a:off x="7598463" y="1"/>
            <a:ext cx="1545538" cy="627534"/>
          </a:xfrm>
          <a:prstGeom prst="rect">
            <a:avLst/>
          </a:prstGeom>
          <a:solidFill>
            <a:schemeClr val="accent3">
              <a:alpha val="50000"/>
            </a:schemeClr>
          </a:solidFill>
          <a:ln w="9525">
            <a:noFill/>
            <a:miter lim="800000"/>
            <a:headEnd/>
            <a:tailEnd/>
          </a:ln>
        </p:spPr>
        <p:txBody>
          <a:bodyPr wrap="square" lIns="54000" tIns="54000" rIns="54000" bIns="54000" rtlCol="0" anchor="ctr"/>
          <a:lstStyle/>
          <a:p>
            <a:pPr algn="ctr" eaLnBrk="0" hangingPunct="0"/>
            <a:endParaRPr lang="en-US" sz="1200" noProof="0">
              <a:latin typeface="+mn-lt"/>
              <a:ea typeface="+mn-ea"/>
              <a:cs typeface="+mn-cs"/>
            </a:endParaRPr>
          </a:p>
        </p:txBody>
      </p:sp>
      <p:sp>
        <p:nvSpPr>
          <p:cNvPr id="2" name="Date Placeholder 1">
            <a:extLst>
              <a:ext uri="{FF2B5EF4-FFF2-40B4-BE49-F238E27FC236}">
                <a16:creationId xmlns:a16="http://schemas.microsoft.com/office/drawing/2014/main" id="{735BE885-8732-4220-942B-E6D8F286274D}"/>
              </a:ext>
            </a:extLst>
          </p:cNvPr>
          <p:cNvSpPr>
            <a:spLocks noGrp="1"/>
          </p:cNvSpPr>
          <p:nvPr>
            <p:ph type="dt" sz="half" idx="24"/>
          </p:nvPr>
        </p:nvSpPr>
        <p:spPr/>
        <p:txBody>
          <a:bodyPr/>
          <a:lstStyle/>
          <a:p>
            <a:endParaRPr lang="en-US" b="1" dirty="0"/>
          </a:p>
        </p:txBody>
      </p:sp>
      <p:sp>
        <p:nvSpPr>
          <p:cNvPr id="13" name="Footer Placeholder 12">
            <a:extLst>
              <a:ext uri="{FF2B5EF4-FFF2-40B4-BE49-F238E27FC236}">
                <a16:creationId xmlns:a16="http://schemas.microsoft.com/office/drawing/2014/main" id="{30570D12-AEFF-4406-B206-CB0D80D8FF49}"/>
              </a:ext>
            </a:extLst>
          </p:cNvPr>
          <p:cNvSpPr>
            <a:spLocks noGrp="1"/>
          </p:cNvSpPr>
          <p:nvPr>
            <p:ph type="ftr" sz="quarter" idx="25"/>
          </p:nvPr>
        </p:nvSpPr>
        <p:spPr/>
        <p:txBody>
          <a:bodyPr/>
          <a:lstStyle/>
          <a:p>
            <a:endParaRPr lang="en-US" dirty="0"/>
          </a:p>
        </p:txBody>
      </p:sp>
      <p:sp>
        <p:nvSpPr>
          <p:cNvPr id="16" name="Slide Number Placeholder 15" hidden="1">
            <a:extLst>
              <a:ext uri="{FF2B5EF4-FFF2-40B4-BE49-F238E27FC236}">
                <a16:creationId xmlns:a16="http://schemas.microsoft.com/office/drawing/2014/main" id="{C49E2653-C8D1-4594-B3A4-0606A88CBB62}"/>
              </a:ext>
            </a:extLst>
          </p:cNvPr>
          <p:cNvSpPr>
            <a:spLocks noGrp="1"/>
          </p:cNvSpPr>
          <p:nvPr>
            <p:ph type="sldNum" sz="quarter" idx="26"/>
          </p:nvPr>
        </p:nvSpPr>
        <p:spPr/>
        <p:txBody>
          <a:bodyPr/>
          <a:lstStyle/>
          <a:p>
            <a:r>
              <a:rPr lang="en-US"/>
              <a:t> </a:t>
            </a:r>
            <a:endParaRPr lang="en-US" dirty="0"/>
          </a:p>
        </p:txBody>
      </p:sp>
    </p:spTree>
    <p:extLst>
      <p:ext uri="{BB962C8B-B14F-4D97-AF65-F5344CB8AC3E}">
        <p14:creationId xmlns:p14="http://schemas.microsoft.com/office/powerpoint/2010/main" val="3984949262"/>
      </p:ext>
    </p:extLst>
  </p:cSld>
  <p:clrMapOvr>
    <a:masterClrMapping/>
  </p:clrMapOvr>
  <p:hf hdr="0"/>
  <p:extLst mod="1">
    <p:ext uri="{DCECCB84-F9BA-43D5-87BE-67443E8EF086}">
      <p15:sldGuideLst xmlns:p15="http://schemas.microsoft.com/office/powerpoint/2012/main">
        <p15:guide id="1" orient="horz" pos="600" userDrawn="1">
          <p15:clr>
            <a:srgbClr val="FBAE40"/>
          </p15:clr>
        </p15:guide>
        <p15:guide id="2" orient="horz" pos="3018" userDrawn="1">
          <p15:clr>
            <a:srgbClr val="FBAE40"/>
          </p15:clr>
        </p15:guide>
        <p15:guide id="3" pos="5604" userDrawn="1">
          <p15:clr>
            <a:srgbClr val="FBAE40"/>
          </p15:clr>
        </p15:guide>
        <p15:guide id="4" pos="156" userDrawn="1">
          <p15:clr>
            <a:srgbClr val="FBAE40"/>
          </p15:clr>
        </p15:guide>
        <p15:guide id="5" pos="2934" userDrawn="1">
          <p15:clr>
            <a:srgbClr val="FBAE40"/>
          </p15:clr>
        </p15:guide>
        <p15:guide id="6" pos="2832" userDrawn="1">
          <p15:clr>
            <a:srgbClr val="FBAE40"/>
          </p15:clr>
        </p15:guide>
        <p15:guide id="7" pos="4188" userDrawn="1">
          <p15:clr>
            <a:srgbClr val="FBAE40"/>
          </p15:clr>
        </p15:guide>
        <p15:guide id="8" pos="4278" userDrawn="1">
          <p15:clr>
            <a:srgbClr val="FBAE40"/>
          </p15:clr>
        </p15:guide>
        <p15:guide id="9" pos="1488" userDrawn="1">
          <p15:clr>
            <a:srgbClr val="FBAE40"/>
          </p15:clr>
        </p15:guide>
        <p15:guide id="10" pos="1572"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OverTx" preserve="1">
  <p:cSld name="IFX_Row_and_Four_Columns">
    <p:spTree>
      <p:nvGrpSpPr>
        <p:cNvPr id="1" name=""/>
        <p:cNvGrpSpPr/>
        <p:nvPr/>
      </p:nvGrpSpPr>
      <p:grpSpPr>
        <a:xfrm>
          <a:off x="0" y="0"/>
          <a:ext cx="0" cy="0"/>
          <a:chOff x="0" y="0"/>
          <a:chExt cx="0" cy="0"/>
        </a:xfrm>
      </p:grpSpPr>
      <p:sp>
        <p:nvSpPr>
          <p:cNvPr id="13" name="empower_additionalText_placeholder" hidden="1">
            <a:extLst>
              <a:ext uri="{FF2B5EF4-FFF2-40B4-BE49-F238E27FC236}">
                <a16:creationId xmlns:a16="http://schemas.microsoft.com/office/drawing/2014/main" id="{598DE9EE-A198-41B5-9814-41C66F96D3B0}"/>
              </a:ext>
            </a:extLst>
          </p:cNvPr>
          <p:cNvSpPr txBox="1"/>
          <p:nvPr>
            <p:custDataLst>
              <p:tags r:id="rId1"/>
            </p:custDataLst>
          </p:nvPr>
        </p:nvSpPr>
        <p:spPr bwMode="auto">
          <a:xfrm>
            <a:off x="1898847" y="4867275"/>
            <a:ext cx="1296000" cy="270825"/>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sz="600" noProof="0">
              <a:latin typeface="+mn-lt"/>
              <a:ea typeface="+mn-ea"/>
              <a:cs typeface="+mn-cs"/>
            </a:endParaRPr>
          </a:p>
        </p:txBody>
      </p:sp>
      <p:sp>
        <p:nvSpPr>
          <p:cNvPr id="5" name="empower_document_placeholder" hidden="1">
            <a:extLst>
              <a:ext uri="{FF2B5EF4-FFF2-40B4-BE49-F238E27FC236}">
                <a16:creationId xmlns:a16="http://schemas.microsoft.com/office/drawing/2014/main" id="{0AFB1D71-5FD7-446C-90B5-1DE68C513BD6}"/>
              </a:ext>
            </a:extLst>
          </p:cNvPr>
          <p:cNvSpPr txBox="1"/>
          <p:nvPr>
            <p:custDataLst>
              <p:tags r:id="rId2"/>
            </p:custDataLst>
          </p:nvPr>
        </p:nvSpPr>
        <p:spPr bwMode="auto">
          <a:xfrm rot="16200000">
            <a:off x="8068416" y="3720253"/>
            <a:ext cx="1944000" cy="188119"/>
          </a:xfrm>
          <a:prstGeom prst="rect">
            <a:avLst/>
          </a:prstGeom>
          <a:noFill/>
          <a:ln w="9525">
            <a:noFill/>
            <a:miter lim="800000"/>
            <a:headEnd/>
            <a:tailEnd/>
          </a:ln>
          <a:effectLst/>
        </p:spPr>
        <p:txBody>
          <a:bodyPr wrap="none" lIns="0" tIns="0" rIns="0" bIns="0" rtlCol="0" anchor="ctr" anchorCtr="0">
            <a:noAutofit/>
          </a:bodyPr>
          <a:lstStyle/>
          <a:p>
            <a:pPr marL="0" marR="0" indent="0"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525" kern="0" noProof="0">
                <a:solidFill>
                  <a:srgbClr val="928285"/>
                </a:solidFill>
                <a:latin typeface="+mn-lt"/>
                <a:ea typeface="+mn-ea"/>
                <a:cs typeface="+mn-cs"/>
              </a:rPr>
              <a:t>[Owner:   Doc ID:   Vers.: ]</a:t>
            </a:r>
          </a:p>
        </p:txBody>
      </p:sp>
      <p:sp>
        <p:nvSpPr>
          <p:cNvPr id="6" name="empower_proprietary_placeholder" hidden="1">
            <a:extLst>
              <a:ext uri="{FF2B5EF4-FFF2-40B4-BE49-F238E27FC236}">
                <a16:creationId xmlns:a16="http://schemas.microsoft.com/office/drawing/2014/main" id="{57168C6C-B95E-4260-9301-8D1D5988F67B}"/>
              </a:ext>
            </a:extLst>
          </p:cNvPr>
          <p:cNvSpPr txBox="1"/>
          <p:nvPr>
            <p:custDataLst>
              <p:tags r:id="rId3"/>
            </p:custDataLst>
          </p:nvPr>
        </p:nvSpPr>
        <p:spPr bwMode="auto">
          <a:xfrm>
            <a:off x="7083360" y="4867275"/>
            <a:ext cx="729000" cy="270825"/>
          </a:xfrm>
          <a:prstGeom prst="rect">
            <a:avLst/>
          </a:prstGeom>
          <a:noFill/>
          <a:ln w="9525">
            <a:noFill/>
            <a:miter lim="800000"/>
            <a:headEnd/>
            <a:tailEnd/>
          </a:ln>
          <a:effectLst/>
        </p:spPr>
        <p:txBody>
          <a:bodyPr wrap="none" lIns="0" tIns="0" rIns="0" bIns="0" rtlCol="0" anchor="ctr" anchorCtr="0">
            <a:noAutofit/>
          </a:bodyPr>
          <a:lstStyle/>
          <a:p>
            <a:pPr marL="0" marR="0" indent="0"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600" b="1" kern="0" noProof="0">
                <a:solidFill>
                  <a:srgbClr val="E30034"/>
                </a:solidFill>
                <a:latin typeface="+mn-lt"/>
                <a:ea typeface="+mn-ea"/>
                <a:cs typeface="+mn-cs"/>
              </a:rPr>
              <a:t>Infineon Proprietary</a:t>
            </a:r>
          </a:p>
        </p:txBody>
      </p:sp>
      <p:sp>
        <p:nvSpPr>
          <p:cNvPr id="7" name="empower_draft_placeholder" hidden="1">
            <a:extLst>
              <a:ext uri="{FF2B5EF4-FFF2-40B4-BE49-F238E27FC236}">
                <a16:creationId xmlns:a16="http://schemas.microsoft.com/office/drawing/2014/main" id="{729E2230-F28C-4139-A2F7-536C0BDB8E99}"/>
              </a:ext>
            </a:extLst>
          </p:cNvPr>
          <p:cNvSpPr txBox="1"/>
          <p:nvPr>
            <p:custDataLst>
              <p:tags r:id="rId4"/>
            </p:custDataLst>
          </p:nvPr>
        </p:nvSpPr>
        <p:spPr bwMode="auto">
          <a:xfrm>
            <a:off x="6570892" y="4867275"/>
            <a:ext cx="270272" cy="270825"/>
          </a:xfrm>
          <a:prstGeom prst="rect">
            <a:avLst/>
          </a:prstGeom>
          <a:noFill/>
          <a:ln w="9525">
            <a:noFill/>
            <a:miter lim="800000"/>
            <a:headEnd/>
            <a:tailEnd/>
          </a:ln>
          <a:effectLst/>
        </p:spPr>
        <p:txBody>
          <a:bodyPr wrap="none" lIns="0" tIns="0" rIns="0" bIns="0" rtlCol="0" anchor="ctr" anchorCtr="0">
            <a:noAutofit/>
          </a:bodyPr>
          <a:lstStyle/>
          <a:p>
            <a:pPr marL="0" marR="0" indent="0" algn="l"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600" b="1" kern="0" noProof="0">
                <a:solidFill>
                  <a:srgbClr val="E30034"/>
                </a:solidFill>
                <a:latin typeface="+mn-lt"/>
                <a:ea typeface="+mn-ea"/>
                <a:cs typeface="+mn-cs"/>
              </a:rPr>
              <a:t>- DRAFT -</a:t>
            </a:r>
          </a:p>
        </p:txBody>
      </p:sp>
      <p:sp>
        <p:nvSpPr>
          <p:cNvPr id="9" name="empower_footer_placeholder">
            <a:extLst>
              <a:ext uri="{FF2B5EF4-FFF2-40B4-BE49-F238E27FC236}">
                <a16:creationId xmlns:a16="http://schemas.microsoft.com/office/drawing/2014/main" id="{2A98BB16-D9CD-4785-A71C-21C57A554883}"/>
              </a:ext>
            </a:extLst>
          </p:cNvPr>
          <p:cNvSpPr txBox="1"/>
          <p:nvPr>
            <p:custDataLst>
              <p:tags r:id="rId5"/>
            </p:custDataLst>
          </p:nvPr>
        </p:nvSpPr>
        <p:spPr bwMode="auto">
          <a:xfrm>
            <a:off x="3410872" y="4867275"/>
            <a:ext cx="2322257" cy="270825"/>
          </a:xfrm>
          <a:prstGeom prst="rect">
            <a:avLst/>
          </a:prstGeom>
          <a:noFill/>
          <a:ln w="9525">
            <a:noFill/>
            <a:miter lim="800000"/>
            <a:headEnd/>
            <a:tailEnd/>
          </a:ln>
          <a:effectLst/>
        </p:spPr>
        <p:txBody>
          <a:bodyPr wrap="none" lIns="0" tIns="0" rIns="0" bIns="0" rtlCol="0" anchor="ctr" anchorCtr="0">
            <a:noAutofit/>
          </a:bodyPr>
          <a:lstStyle/>
          <a:p>
            <a:pPr marL="0" marR="0" indent="0" algn="ctr" defTabSz="685800" eaLnBrk="0" fontAlgn="auto" latinLnBrk="0" hangingPunct="0">
              <a:spcBef>
                <a:spcPts val="0"/>
              </a:spcBef>
              <a:spcAft>
                <a:spcPts val="225"/>
              </a:spcAft>
              <a:buClr>
                <a:schemeClr val="accent1"/>
              </a:buClr>
              <a:buSzTx/>
              <a:buFont typeface="Arial" panose="020B0604020202020204" pitchFamily="34" charset="0"/>
              <a:buNone/>
              <a:tabLst/>
            </a:pPr>
            <a:r>
              <a:rPr lang="en-GB" sz="600" kern="0" noProof="0">
                <a:solidFill>
                  <a:srgbClr val="928285"/>
                </a:solidFill>
                <a:latin typeface="+mn-lt"/>
                <a:ea typeface="+mn-ea"/>
                <a:cs typeface="+mn-cs"/>
              </a:rPr>
              <a:t>Copyright © Infineon Technologies AG 2022. All rights reserved.</a:t>
            </a:r>
            <a:endParaRPr lang="en-US" sz="600" kern="0" noProof="0">
              <a:solidFill>
                <a:srgbClr val="928285"/>
              </a:solidFill>
              <a:latin typeface="+mn-lt"/>
              <a:ea typeface="+mn-ea"/>
              <a:cs typeface="+mn-cs"/>
            </a:endParaRPr>
          </a:p>
        </p:txBody>
      </p:sp>
      <p:sp>
        <p:nvSpPr>
          <p:cNvPr id="10" name="empower_classification_attention_placeholder" hidden="1">
            <a:extLst>
              <a:ext uri="{FF2B5EF4-FFF2-40B4-BE49-F238E27FC236}">
                <a16:creationId xmlns:a16="http://schemas.microsoft.com/office/drawing/2014/main" id="{333A1F8F-A990-434A-92C1-D59A014E7AFF}"/>
              </a:ext>
            </a:extLst>
          </p:cNvPr>
          <p:cNvSpPr txBox="1"/>
          <p:nvPr>
            <p:custDataLst>
              <p:tags r:id="rId6"/>
            </p:custDataLst>
          </p:nvPr>
        </p:nvSpPr>
        <p:spPr bwMode="auto">
          <a:xfrm>
            <a:off x="928642" y="4867275"/>
            <a:ext cx="728891" cy="270825"/>
          </a:xfrm>
          <a:prstGeom prst="rect">
            <a:avLst/>
          </a:prstGeom>
          <a:noFill/>
          <a:ln w="9525">
            <a:noFill/>
            <a:miter lim="800000"/>
            <a:headEnd/>
            <a:tailEnd/>
          </a:ln>
          <a:effectLst/>
        </p:spPr>
        <p:txBody>
          <a:bodyPr wrap="none" lIns="0" tIns="0" rIns="0" bIns="0" rtlCol="0" anchor="ctr" anchorCtr="0">
            <a:noAutofit/>
          </a:bodyPr>
          <a:lstStyle/>
          <a:p>
            <a:pPr marL="0" marR="0" indent="0" algn="l"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600" b="1" kern="0" noProof="0">
                <a:solidFill>
                  <a:srgbClr val="E30034"/>
                </a:solidFill>
                <a:latin typeface="+mn-lt"/>
                <a:ea typeface="+mn-ea"/>
                <a:cs typeface="+mn-cs"/>
              </a:rPr>
              <a:t>Restricted</a:t>
            </a:r>
          </a:p>
        </p:txBody>
      </p:sp>
      <p:sp>
        <p:nvSpPr>
          <p:cNvPr id="11" name="empower_classification_placeholder">
            <a:extLst>
              <a:ext uri="{FF2B5EF4-FFF2-40B4-BE49-F238E27FC236}">
                <a16:creationId xmlns:a16="http://schemas.microsoft.com/office/drawing/2014/main" id="{DBAA7875-DC7B-4CB1-AFAA-A99AEDD01BF7}"/>
              </a:ext>
            </a:extLst>
          </p:cNvPr>
          <p:cNvSpPr txBox="1"/>
          <p:nvPr>
            <p:custDataLst>
              <p:tags r:id="rId7"/>
            </p:custDataLst>
          </p:nvPr>
        </p:nvSpPr>
        <p:spPr bwMode="auto">
          <a:xfrm>
            <a:off x="928642" y="4867275"/>
            <a:ext cx="729938" cy="270825"/>
          </a:xfrm>
          <a:prstGeom prst="rect">
            <a:avLst/>
          </a:prstGeom>
          <a:noFill/>
          <a:ln w="9525">
            <a:noFill/>
            <a:miter lim="800000"/>
            <a:headEnd/>
            <a:tailEnd/>
          </a:ln>
          <a:effectLst/>
        </p:spPr>
        <p:txBody>
          <a:bodyPr wrap="none" lIns="0" tIns="0" rIns="0" bIns="0" rtlCol="0" anchor="ctr" anchorCtr="0">
            <a:noAutofit/>
          </a:bodyPr>
          <a:lstStyle/>
          <a:p>
            <a:pPr marL="0" marR="0" indent="0" algn="l"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600" b="1" kern="0" noProof="0">
                <a:solidFill>
                  <a:srgbClr val="928285"/>
                </a:solidFill>
                <a:latin typeface="+mn-lt"/>
                <a:ea typeface="+mn-ea"/>
                <a:cs typeface="+mn-cs"/>
              </a:rPr>
              <a:t>restricted</a:t>
            </a:r>
          </a:p>
        </p:txBody>
      </p:sp>
      <p:sp>
        <p:nvSpPr>
          <p:cNvPr id="15" name="empower_date_placeholder">
            <a:extLst>
              <a:ext uri="{FF2B5EF4-FFF2-40B4-BE49-F238E27FC236}">
                <a16:creationId xmlns:a16="http://schemas.microsoft.com/office/drawing/2014/main" id="{5743D8EF-9336-4669-BBD9-501D062A3DB4}"/>
              </a:ext>
            </a:extLst>
          </p:cNvPr>
          <p:cNvSpPr txBox="1"/>
          <p:nvPr>
            <p:custDataLst>
              <p:tags r:id="rId8"/>
            </p:custDataLst>
          </p:nvPr>
        </p:nvSpPr>
        <p:spPr bwMode="auto">
          <a:xfrm>
            <a:off x="251222" y="4867275"/>
            <a:ext cx="459000" cy="270825"/>
          </a:xfrm>
          <a:prstGeom prst="rect">
            <a:avLst/>
          </a:prstGeom>
          <a:noFill/>
          <a:ln w="9525">
            <a:noFill/>
            <a:miter lim="800000"/>
            <a:headEnd/>
            <a:tailEnd/>
          </a:ln>
          <a:effectLst/>
        </p:spPr>
        <p:txBody>
          <a:bodyPr wrap="none" lIns="0" tIns="0" rIns="0" bIns="0" rtlCol="0" anchor="ctr" anchorCtr="0">
            <a:noAutofit/>
          </a:bodyPr>
          <a:lstStyle/>
          <a:p>
            <a:pPr marL="0" marR="0" indent="0"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600" kern="0" noProof="0">
                <a:solidFill>
                  <a:srgbClr val="928285"/>
                </a:solidFill>
                <a:latin typeface="+mn-lt"/>
                <a:ea typeface="+mn-ea"/>
                <a:cs typeface="+mn-cs"/>
              </a:rPr>
              <a:t>2022-07-16</a:t>
            </a:r>
          </a:p>
        </p:txBody>
      </p:sp>
      <p:sp>
        <p:nvSpPr>
          <p:cNvPr id="8" name="Content Top">
            <a:extLst>
              <a:ext uri="{FF2B5EF4-FFF2-40B4-BE49-F238E27FC236}">
                <a16:creationId xmlns:a16="http://schemas.microsoft.com/office/drawing/2014/main" id="{B528FDA5-64C4-4079-B7B7-97722BA30039}"/>
              </a:ext>
            </a:extLst>
          </p:cNvPr>
          <p:cNvSpPr>
            <a:spLocks noGrp="1"/>
          </p:cNvSpPr>
          <p:nvPr>
            <p:ph sz="quarter" idx="21" hasCustomPrompt="1"/>
          </p:nvPr>
        </p:nvSpPr>
        <p:spPr>
          <a:xfrm>
            <a:off x="251100" y="951311"/>
            <a:ext cx="8640960" cy="1026319"/>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stStyle>
          <a:p>
            <a:pPr lvl="0"/>
            <a:r>
              <a:rPr lang="en-US" noProof="0"/>
              <a:t>Click to edit text</a:t>
            </a:r>
          </a:p>
          <a:p>
            <a:pPr lvl="1"/>
            <a:r>
              <a:rPr lang="en-US" noProof="0"/>
              <a:t>Second level</a:t>
            </a:r>
          </a:p>
          <a:p>
            <a:pPr lvl="2"/>
            <a:r>
              <a:rPr lang="en-US" noProof="0"/>
              <a:t>Third level</a:t>
            </a:r>
          </a:p>
        </p:txBody>
      </p:sp>
      <p:sp>
        <p:nvSpPr>
          <p:cNvPr id="12" name="Content Left">
            <a:extLst>
              <a:ext uri="{FF2B5EF4-FFF2-40B4-BE49-F238E27FC236}">
                <a16:creationId xmlns:a16="http://schemas.microsoft.com/office/drawing/2014/main" id="{11455573-DB68-4634-9EB0-10FDA72EB09C}"/>
              </a:ext>
            </a:extLst>
          </p:cNvPr>
          <p:cNvSpPr>
            <a:spLocks noGrp="1"/>
          </p:cNvSpPr>
          <p:nvPr>
            <p:ph sz="quarter" idx="22" hasCustomPrompt="1"/>
          </p:nvPr>
        </p:nvSpPr>
        <p:spPr>
          <a:xfrm>
            <a:off x="251100" y="2085975"/>
            <a:ext cx="2106000" cy="2700338"/>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Content Center Left">
            <a:extLst>
              <a:ext uri="{FF2B5EF4-FFF2-40B4-BE49-F238E27FC236}">
                <a16:creationId xmlns:a16="http://schemas.microsoft.com/office/drawing/2014/main" id="{DF6A34C2-8D0D-4C18-BD01-86B1344A92DF}"/>
              </a:ext>
            </a:extLst>
          </p:cNvPr>
          <p:cNvSpPr>
            <a:spLocks noGrp="1"/>
          </p:cNvSpPr>
          <p:nvPr>
            <p:ph sz="quarter" idx="23" hasCustomPrompt="1"/>
          </p:nvPr>
        </p:nvSpPr>
        <p:spPr>
          <a:xfrm>
            <a:off x="2493169" y="2085975"/>
            <a:ext cx="1997869" cy="2700338"/>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8" name="Content Center Right">
            <a:extLst>
              <a:ext uri="{FF2B5EF4-FFF2-40B4-BE49-F238E27FC236}">
                <a16:creationId xmlns:a16="http://schemas.microsoft.com/office/drawing/2014/main" id="{A331F240-D4BB-4096-BFB7-002D583A4FC9}"/>
              </a:ext>
            </a:extLst>
          </p:cNvPr>
          <p:cNvSpPr>
            <a:spLocks noGrp="1"/>
          </p:cNvSpPr>
          <p:nvPr>
            <p:ph sz="quarter" idx="24" hasCustomPrompt="1"/>
          </p:nvPr>
        </p:nvSpPr>
        <p:spPr>
          <a:xfrm>
            <a:off x="4652963" y="2085975"/>
            <a:ext cx="1997869" cy="2700338"/>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Content Right">
            <a:extLst>
              <a:ext uri="{FF2B5EF4-FFF2-40B4-BE49-F238E27FC236}">
                <a16:creationId xmlns:a16="http://schemas.microsoft.com/office/drawing/2014/main" id="{2BEB3BE2-22F6-4B6B-AB28-F38AB449DED5}"/>
              </a:ext>
            </a:extLst>
          </p:cNvPr>
          <p:cNvSpPr>
            <a:spLocks noGrp="1"/>
          </p:cNvSpPr>
          <p:nvPr>
            <p:ph sz="quarter" idx="25" hasCustomPrompt="1"/>
          </p:nvPr>
        </p:nvSpPr>
        <p:spPr>
          <a:xfrm>
            <a:off x="6786563" y="2085975"/>
            <a:ext cx="2105695" cy="2700338"/>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itle">
            <a:extLst>
              <a:ext uri="{FF2B5EF4-FFF2-40B4-BE49-F238E27FC236}">
                <a16:creationId xmlns:a16="http://schemas.microsoft.com/office/drawing/2014/main" id="{B9A27F18-A46A-4C29-AB62-7BEB5215CA63}"/>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4" name="LOGO PROTECTION" hidden="1">
            <a:extLst>
              <a:ext uri="{FF2B5EF4-FFF2-40B4-BE49-F238E27FC236}">
                <a16:creationId xmlns:a16="http://schemas.microsoft.com/office/drawing/2014/main" id="{DDE018F7-7CB9-4F69-872D-4609CBE453C0}"/>
              </a:ext>
            </a:extLst>
          </p:cNvPr>
          <p:cNvSpPr/>
          <p:nvPr>
            <p:custDataLst>
              <p:tags r:id="rId9"/>
            </p:custDataLst>
          </p:nvPr>
        </p:nvSpPr>
        <p:spPr bwMode="auto">
          <a:xfrm>
            <a:off x="7598463" y="1"/>
            <a:ext cx="1545538" cy="627534"/>
          </a:xfrm>
          <a:prstGeom prst="rect">
            <a:avLst/>
          </a:prstGeom>
          <a:solidFill>
            <a:schemeClr val="accent3">
              <a:alpha val="50000"/>
            </a:schemeClr>
          </a:solidFill>
          <a:ln w="9525">
            <a:noFill/>
            <a:miter lim="800000"/>
            <a:headEnd/>
            <a:tailEnd/>
          </a:ln>
        </p:spPr>
        <p:txBody>
          <a:bodyPr wrap="square" lIns="54000" tIns="54000" rIns="54000" bIns="54000" rtlCol="0" anchor="ctr"/>
          <a:lstStyle/>
          <a:p>
            <a:pPr algn="ctr" eaLnBrk="0" hangingPunct="0"/>
            <a:endParaRPr lang="en-US" sz="1200" noProof="0">
              <a:latin typeface="+mn-lt"/>
              <a:ea typeface="+mn-ea"/>
              <a:cs typeface="+mn-cs"/>
            </a:endParaRPr>
          </a:p>
        </p:txBody>
      </p:sp>
      <p:sp>
        <p:nvSpPr>
          <p:cNvPr id="2" name="Date Placeholder 1">
            <a:extLst>
              <a:ext uri="{FF2B5EF4-FFF2-40B4-BE49-F238E27FC236}">
                <a16:creationId xmlns:a16="http://schemas.microsoft.com/office/drawing/2014/main" id="{580E7AAC-C545-4F05-8939-1B218CC948D8}"/>
              </a:ext>
            </a:extLst>
          </p:cNvPr>
          <p:cNvSpPr>
            <a:spLocks noGrp="1"/>
          </p:cNvSpPr>
          <p:nvPr>
            <p:ph type="dt" sz="half" idx="26"/>
          </p:nvPr>
        </p:nvSpPr>
        <p:spPr/>
        <p:txBody>
          <a:bodyPr/>
          <a:lstStyle/>
          <a:p>
            <a:endParaRPr lang="en-US" b="1" dirty="0"/>
          </a:p>
        </p:txBody>
      </p:sp>
      <p:sp>
        <p:nvSpPr>
          <p:cNvPr id="14" name="Footer Placeholder 13">
            <a:extLst>
              <a:ext uri="{FF2B5EF4-FFF2-40B4-BE49-F238E27FC236}">
                <a16:creationId xmlns:a16="http://schemas.microsoft.com/office/drawing/2014/main" id="{86E86CFC-21FB-497B-BD25-729619D70F13}"/>
              </a:ext>
            </a:extLst>
          </p:cNvPr>
          <p:cNvSpPr>
            <a:spLocks noGrp="1"/>
          </p:cNvSpPr>
          <p:nvPr>
            <p:ph type="ftr" sz="quarter" idx="27"/>
          </p:nvPr>
        </p:nvSpPr>
        <p:spPr/>
        <p:txBody>
          <a:bodyPr/>
          <a:lstStyle/>
          <a:p>
            <a:endParaRPr lang="en-US" dirty="0"/>
          </a:p>
        </p:txBody>
      </p:sp>
      <p:sp>
        <p:nvSpPr>
          <p:cNvPr id="17" name="Slide Number Placeholder 16" hidden="1">
            <a:extLst>
              <a:ext uri="{FF2B5EF4-FFF2-40B4-BE49-F238E27FC236}">
                <a16:creationId xmlns:a16="http://schemas.microsoft.com/office/drawing/2014/main" id="{C7A23CE7-AF5A-4245-A417-6A94DA58E485}"/>
              </a:ext>
            </a:extLst>
          </p:cNvPr>
          <p:cNvSpPr>
            <a:spLocks noGrp="1"/>
          </p:cNvSpPr>
          <p:nvPr>
            <p:ph type="sldNum" sz="quarter" idx="28"/>
          </p:nvPr>
        </p:nvSpPr>
        <p:spPr/>
        <p:txBody>
          <a:bodyPr/>
          <a:lstStyle/>
          <a:p>
            <a:r>
              <a:rPr lang="en-US"/>
              <a:t> </a:t>
            </a:r>
            <a:endParaRPr lang="en-US" dirty="0"/>
          </a:p>
        </p:txBody>
      </p:sp>
    </p:spTree>
    <p:extLst>
      <p:ext uri="{BB962C8B-B14F-4D97-AF65-F5344CB8AC3E}">
        <p14:creationId xmlns:p14="http://schemas.microsoft.com/office/powerpoint/2010/main" val="129433352"/>
      </p:ext>
    </p:extLst>
  </p:cSld>
  <p:clrMapOvr>
    <a:masterClrMapping/>
  </p:clrMapOvr>
  <p:hf hdr="0"/>
  <p:extLst mod="1">
    <p:ext uri="{DCECCB84-F9BA-43D5-87BE-67443E8EF086}">
      <p15:sldGuideLst xmlns:p15="http://schemas.microsoft.com/office/powerpoint/2012/main">
        <p15:guide id="1" orient="horz" pos="600" userDrawn="1">
          <p15:clr>
            <a:srgbClr val="FBAE40"/>
          </p15:clr>
        </p15:guide>
        <p15:guide id="2" orient="horz" pos="1248" userDrawn="1">
          <p15:clr>
            <a:srgbClr val="FBAE40"/>
          </p15:clr>
        </p15:guide>
        <p15:guide id="3" orient="horz" pos="1314" userDrawn="1">
          <p15:clr>
            <a:srgbClr val="FBAE40"/>
          </p15:clr>
        </p15:guide>
        <p15:guide id="4" orient="horz" pos="3018" userDrawn="1">
          <p15:clr>
            <a:srgbClr val="FBAE40"/>
          </p15:clr>
        </p15:guide>
        <p15:guide id="5" pos="1488" userDrawn="1">
          <p15:clr>
            <a:srgbClr val="FBAE40"/>
          </p15:clr>
        </p15:guide>
        <p15:guide id="6" pos="156" userDrawn="1">
          <p15:clr>
            <a:srgbClr val="FBAE40"/>
          </p15:clr>
        </p15:guide>
        <p15:guide id="7" pos="1572" userDrawn="1">
          <p15:clr>
            <a:srgbClr val="FBAE40"/>
          </p15:clr>
        </p15:guide>
        <p15:guide id="8" pos="2832" userDrawn="1">
          <p15:clr>
            <a:srgbClr val="FBAE40"/>
          </p15:clr>
        </p15:guide>
        <p15:guide id="9" pos="2934" userDrawn="1">
          <p15:clr>
            <a:srgbClr val="FBAE40"/>
          </p15:clr>
        </p15:guide>
        <p15:guide id="10" pos="4188" userDrawn="1">
          <p15:clr>
            <a:srgbClr val="FBAE40"/>
          </p15:clr>
        </p15:guide>
        <p15:guide id="11" pos="4278" userDrawn="1">
          <p15:clr>
            <a:srgbClr val="FBAE40"/>
          </p15:clr>
        </p15:guide>
        <p15:guide id="12" pos="5604"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IFX_Empty">
    <p:spTree>
      <p:nvGrpSpPr>
        <p:cNvPr id="1" name=""/>
        <p:cNvGrpSpPr/>
        <p:nvPr/>
      </p:nvGrpSpPr>
      <p:grpSpPr>
        <a:xfrm>
          <a:off x="0" y="0"/>
          <a:ext cx="0" cy="0"/>
          <a:chOff x="0" y="0"/>
          <a:chExt cx="0" cy="0"/>
        </a:xfrm>
      </p:grpSpPr>
      <p:sp>
        <p:nvSpPr>
          <p:cNvPr id="10" name="empower_document_placeholder" hidden="1">
            <a:extLst>
              <a:ext uri="{FF2B5EF4-FFF2-40B4-BE49-F238E27FC236}">
                <a16:creationId xmlns:a16="http://schemas.microsoft.com/office/drawing/2014/main" id="{C269EC22-FB11-4D33-A5AD-970FF7AE0E7D}"/>
              </a:ext>
            </a:extLst>
          </p:cNvPr>
          <p:cNvSpPr txBox="1"/>
          <p:nvPr>
            <p:custDataLst>
              <p:tags r:id="rId1"/>
            </p:custDataLst>
          </p:nvPr>
        </p:nvSpPr>
        <p:spPr bwMode="auto">
          <a:xfrm rot="16200000">
            <a:off x="8068416" y="3720253"/>
            <a:ext cx="1944000" cy="188119"/>
          </a:xfrm>
          <a:prstGeom prst="rect">
            <a:avLst/>
          </a:prstGeom>
          <a:noFill/>
          <a:ln w="9525">
            <a:noFill/>
            <a:miter lim="800000"/>
            <a:headEnd/>
            <a:tailEnd/>
          </a:ln>
          <a:effectLst/>
        </p:spPr>
        <p:txBody>
          <a:bodyPr wrap="none" lIns="0" tIns="0" rIns="0" bIns="0" rtlCol="0" anchor="ctr" anchorCtr="0">
            <a:noAutofit/>
          </a:bodyPr>
          <a:lstStyle/>
          <a:p>
            <a:pPr marL="0" marR="0" indent="0"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525" kern="0" baseline="0" noProof="0">
                <a:solidFill>
                  <a:srgbClr val="928285"/>
                </a:solidFill>
                <a:latin typeface="+mn-lt"/>
                <a:ea typeface="+mn-ea"/>
                <a:cs typeface="+mn-cs"/>
              </a:rPr>
              <a:t>[Owner:   Doc ID:   Vers.: ]</a:t>
            </a:r>
          </a:p>
        </p:txBody>
      </p:sp>
      <p:sp>
        <p:nvSpPr>
          <p:cNvPr id="5" name="empower_additionalText_placeholder" hidden="1">
            <a:extLst>
              <a:ext uri="{FF2B5EF4-FFF2-40B4-BE49-F238E27FC236}">
                <a16:creationId xmlns:a16="http://schemas.microsoft.com/office/drawing/2014/main" id="{8B492BE2-D2A2-481A-B24A-CDE1C12A85F8}"/>
              </a:ext>
            </a:extLst>
          </p:cNvPr>
          <p:cNvSpPr txBox="1"/>
          <p:nvPr>
            <p:custDataLst>
              <p:tags r:id="rId2"/>
            </p:custDataLst>
          </p:nvPr>
        </p:nvSpPr>
        <p:spPr bwMode="auto">
          <a:xfrm>
            <a:off x="1898847" y="4867275"/>
            <a:ext cx="1296000" cy="270825"/>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sz="600" baseline="0" noProof="0">
              <a:latin typeface="+mn-lt"/>
              <a:ea typeface="+mn-ea"/>
              <a:cs typeface="+mn-cs"/>
            </a:endParaRPr>
          </a:p>
        </p:txBody>
      </p:sp>
      <p:sp>
        <p:nvSpPr>
          <p:cNvPr id="12" name="empower_proprietary_placeholder" hidden="1">
            <a:extLst>
              <a:ext uri="{FF2B5EF4-FFF2-40B4-BE49-F238E27FC236}">
                <a16:creationId xmlns:a16="http://schemas.microsoft.com/office/drawing/2014/main" id="{4B1BF6CA-DC2D-48CD-962D-066217BE39A2}"/>
              </a:ext>
            </a:extLst>
          </p:cNvPr>
          <p:cNvSpPr txBox="1"/>
          <p:nvPr>
            <p:custDataLst>
              <p:tags r:id="rId3"/>
            </p:custDataLst>
          </p:nvPr>
        </p:nvSpPr>
        <p:spPr bwMode="auto">
          <a:xfrm>
            <a:off x="7083360" y="4867275"/>
            <a:ext cx="729000" cy="270825"/>
          </a:xfrm>
          <a:prstGeom prst="rect">
            <a:avLst/>
          </a:prstGeom>
          <a:noFill/>
          <a:ln w="9525">
            <a:noFill/>
            <a:miter lim="800000"/>
            <a:headEnd/>
            <a:tailEnd/>
          </a:ln>
          <a:effectLst/>
        </p:spPr>
        <p:txBody>
          <a:bodyPr wrap="none" lIns="0" tIns="0" rIns="0" bIns="0" rtlCol="0" anchor="ctr" anchorCtr="0">
            <a:noAutofit/>
          </a:bodyPr>
          <a:lstStyle/>
          <a:p>
            <a:pPr marL="0" marR="0" indent="0"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600" b="1" kern="0" baseline="0" noProof="0">
                <a:solidFill>
                  <a:srgbClr val="E30034"/>
                </a:solidFill>
                <a:latin typeface="+mn-lt"/>
                <a:ea typeface="+mn-ea"/>
                <a:cs typeface="+mn-cs"/>
              </a:rPr>
              <a:t>Infineon Proprietary</a:t>
            </a:r>
          </a:p>
        </p:txBody>
      </p:sp>
      <p:sp>
        <p:nvSpPr>
          <p:cNvPr id="14" name="empower_draft_placeholder" hidden="1">
            <a:extLst>
              <a:ext uri="{FF2B5EF4-FFF2-40B4-BE49-F238E27FC236}">
                <a16:creationId xmlns:a16="http://schemas.microsoft.com/office/drawing/2014/main" id="{884DECEF-9719-4244-AEE1-2AEA4754457D}"/>
              </a:ext>
            </a:extLst>
          </p:cNvPr>
          <p:cNvSpPr txBox="1"/>
          <p:nvPr>
            <p:custDataLst>
              <p:tags r:id="rId4"/>
            </p:custDataLst>
          </p:nvPr>
        </p:nvSpPr>
        <p:spPr bwMode="auto">
          <a:xfrm>
            <a:off x="6570892" y="4867275"/>
            <a:ext cx="270272" cy="270825"/>
          </a:xfrm>
          <a:prstGeom prst="rect">
            <a:avLst/>
          </a:prstGeom>
          <a:noFill/>
          <a:ln w="9525">
            <a:noFill/>
            <a:miter lim="800000"/>
            <a:headEnd/>
            <a:tailEnd/>
          </a:ln>
          <a:effectLst/>
        </p:spPr>
        <p:txBody>
          <a:bodyPr wrap="none" lIns="0" tIns="0" rIns="0" bIns="0" rtlCol="0" anchor="ctr" anchorCtr="0">
            <a:noAutofit/>
          </a:bodyPr>
          <a:lstStyle/>
          <a:p>
            <a:pPr marL="0" marR="0" indent="0" algn="l"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600" b="1" kern="0" baseline="0" noProof="0">
                <a:solidFill>
                  <a:srgbClr val="E30034"/>
                </a:solidFill>
                <a:latin typeface="+mn-lt"/>
                <a:ea typeface="+mn-ea"/>
                <a:cs typeface="+mn-cs"/>
              </a:rPr>
              <a:t>- DRAFT -</a:t>
            </a:r>
          </a:p>
        </p:txBody>
      </p:sp>
      <p:sp>
        <p:nvSpPr>
          <p:cNvPr id="16" name="empower_footer_placeholder">
            <a:extLst>
              <a:ext uri="{FF2B5EF4-FFF2-40B4-BE49-F238E27FC236}">
                <a16:creationId xmlns:a16="http://schemas.microsoft.com/office/drawing/2014/main" id="{4E03D739-7852-4964-A407-6FD3B0FC1EEE}"/>
              </a:ext>
            </a:extLst>
          </p:cNvPr>
          <p:cNvSpPr txBox="1"/>
          <p:nvPr>
            <p:custDataLst>
              <p:tags r:id="rId5"/>
            </p:custDataLst>
          </p:nvPr>
        </p:nvSpPr>
        <p:spPr bwMode="auto">
          <a:xfrm>
            <a:off x="3410872" y="4867275"/>
            <a:ext cx="2322257" cy="270825"/>
          </a:xfrm>
          <a:prstGeom prst="rect">
            <a:avLst/>
          </a:prstGeom>
          <a:noFill/>
          <a:ln w="9525">
            <a:noFill/>
            <a:miter lim="800000"/>
            <a:headEnd/>
            <a:tailEnd/>
          </a:ln>
          <a:effectLst/>
        </p:spPr>
        <p:txBody>
          <a:bodyPr wrap="none" lIns="0" tIns="0" rIns="0" bIns="0" rtlCol="0" anchor="ctr" anchorCtr="0">
            <a:noAutofit/>
          </a:bodyPr>
          <a:lstStyle/>
          <a:p>
            <a:pPr marL="0" marR="0" indent="0" algn="ctr" defTabSz="685800" eaLnBrk="0" fontAlgn="auto" latinLnBrk="0" hangingPunct="0">
              <a:spcBef>
                <a:spcPts val="0"/>
              </a:spcBef>
              <a:spcAft>
                <a:spcPts val="225"/>
              </a:spcAft>
              <a:buClr>
                <a:schemeClr val="accent1"/>
              </a:buClr>
              <a:buSzTx/>
              <a:buFont typeface="Arial" panose="020B0604020202020204" pitchFamily="34" charset="0"/>
              <a:buNone/>
              <a:tabLst/>
            </a:pPr>
            <a:r>
              <a:rPr lang="en-GB" sz="600" kern="0" baseline="0" noProof="0">
                <a:solidFill>
                  <a:srgbClr val="928285"/>
                </a:solidFill>
                <a:latin typeface="+mn-lt"/>
                <a:ea typeface="+mn-ea"/>
                <a:cs typeface="+mn-cs"/>
              </a:rPr>
              <a:t>Copyright © Infineon Technologies AG 2022. All rights reserved.</a:t>
            </a:r>
            <a:endParaRPr lang="en-US" sz="600" kern="0" baseline="0" noProof="0">
              <a:solidFill>
                <a:srgbClr val="928285"/>
              </a:solidFill>
              <a:latin typeface="+mn-lt"/>
              <a:ea typeface="+mn-ea"/>
              <a:cs typeface="+mn-cs"/>
            </a:endParaRPr>
          </a:p>
        </p:txBody>
      </p:sp>
      <p:sp>
        <p:nvSpPr>
          <p:cNvPr id="18" name="empower_classification_attention_placeholder" hidden="1">
            <a:extLst>
              <a:ext uri="{FF2B5EF4-FFF2-40B4-BE49-F238E27FC236}">
                <a16:creationId xmlns:a16="http://schemas.microsoft.com/office/drawing/2014/main" id="{8BB80B65-0382-459F-AC7F-F3D707F65045}"/>
              </a:ext>
            </a:extLst>
          </p:cNvPr>
          <p:cNvSpPr txBox="1"/>
          <p:nvPr>
            <p:custDataLst>
              <p:tags r:id="rId6"/>
            </p:custDataLst>
          </p:nvPr>
        </p:nvSpPr>
        <p:spPr bwMode="auto">
          <a:xfrm>
            <a:off x="928642" y="4867275"/>
            <a:ext cx="728891" cy="270825"/>
          </a:xfrm>
          <a:prstGeom prst="rect">
            <a:avLst/>
          </a:prstGeom>
          <a:noFill/>
          <a:ln w="9525">
            <a:noFill/>
            <a:miter lim="800000"/>
            <a:headEnd/>
            <a:tailEnd/>
          </a:ln>
          <a:effectLst/>
        </p:spPr>
        <p:txBody>
          <a:bodyPr wrap="none" lIns="0" tIns="0" rIns="0" bIns="0" rtlCol="0" anchor="ctr" anchorCtr="0">
            <a:noAutofit/>
          </a:bodyPr>
          <a:lstStyle/>
          <a:p>
            <a:pPr marL="0" marR="0" indent="0" algn="l"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600" b="1" kern="0" baseline="0" noProof="0">
                <a:solidFill>
                  <a:srgbClr val="E30034"/>
                </a:solidFill>
                <a:latin typeface="+mn-lt"/>
                <a:ea typeface="+mn-ea"/>
                <a:cs typeface="+mn-cs"/>
              </a:rPr>
              <a:t>Restricted</a:t>
            </a:r>
          </a:p>
        </p:txBody>
      </p:sp>
      <p:sp>
        <p:nvSpPr>
          <p:cNvPr id="20" name="empower_classification_placeholder">
            <a:extLst>
              <a:ext uri="{FF2B5EF4-FFF2-40B4-BE49-F238E27FC236}">
                <a16:creationId xmlns:a16="http://schemas.microsoft.com/office/drawing/2014/main" id="{35CA1B3C-86AD-43CD-94E9-5A2E81B7D24E}"/>
              </a:ext>
            </a:extLst>
          </p:cNvPr>
          <p:cNvSpPr txBox="1">
            <a:spLocks/>
          </p:cNvSpPr>
          <p:nvPr>
            <p:custDataLst>
              <p:tags r:id="rId7"/>
            </p:custDataLst>
          </p:nvPr>
        </p:nvSpPr>
        <p:spPr bwMode="auto">
          <a:xfrm>
            <a:off x="928642" y="4867275"/>
            <a:ext cx="729938" cy="270825"/>
          </a:xfrm>
          <a:prstGeom prst="rect">
            <a:avLst/>
          </a:prstGeom>
          <a:noFill/>
          <a:ln w="9525">
            <a:noFill/>
            <a:miter lim="800000"/>
            <a:headEnd/>
            <a:tailEnd/>
          </a:ln>
          <a:effectLst/>
        </p:spPr>
        <p:txBody>
          <a:bodyPr wrap="none" lIns="0" tIns="0" rIns="0" bIns="0" rtlCol="0" anchor="ctr" anchorCtr="0">
            <a:noAutofit/>
          </a:bodyPr>
          <a:lstStyle/>
          <a:p>
            <a:pPr marL="0" marR="0" indent="0" algn="l"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600" b="1" kern="0" baseline="0" noProof="0">
                <a:solidFill>
                  <a:srgbClr val="928285"/>
                </a:solidFill>
                <a:latin typeface="+mn-lt"/>
                <a:ea typeface="+mn-ea"/>
                <a:cs typeface="+mn-cs"/>
              </a:rPr>
              <a:t>restricted</a:t>
            </a:r>
          </a:p>
        </p:txBody>
      </p:sp>
      <p:sp>
        <p:nvSpPr>
          <p:cNvPr id="22" name="empower_date_placeholder">
            <a:extLst>
              <a:ext uri="{FF2B5EF4-FFF2-40B4-BE49-F238E27FC236}">
                <a16:creationId xmlns:a16="http://schemas.microsoft.com/office/drawing/2014/main" id="{8E11CE1F-6424-469C-8957-85A359561FBF}"/>
              </a:ext>
            </a:extLst>
          </p:cNvPr>
          <p:cNvSpPr txBox="1"/>
          <p:nvPr>
            <p:custDataLst>
              <p:tags r:id="rId8"/>
            </p:custDataLst>
          </p:nvPr>
        </p:nvSpPr>
        <p:spPr bwMode="auto">
          <a:xfrm>
            <a:off x="251222" y="4867275"/>
            <a:ext cx="459000" cy="270825"/>
          </a:xfrm>
          <a:prstGeom prst="rect">
            <a:avLst/>
          </a:prstGeom>
          <a:noFill/>
          <a:ln w="9525">
            <a:noFill/>
            <a:miter lim="800000"/>
            <a:headEnd/>
            <a:tailEnd/>
          </a:ln>
          <a:effectLst/>
        </p:spPr>
        <p:txBody>
          <a:bodyPr wrap="none" lIns="0" tIns="0" rIns="0" bIns="0" rtlCol="0" anchor="ctr" anchorCtr="0">
            <a:noAutofit/>
          </a:bodyPr>
          <a:lstStyle/>
          <a:p>
            <a:pPr marL="0" marR="0" indent="0"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600" kern="0" baseline="0" noProof="0">
                <a:solidFill>
                  <a:srgbClr val="928285"/>
                </a:solidFill>
                <a:latin typeface="+mn-lt"/>
                <a:ea typeface="+mn-ea"/>
                <a:cs typeface="+mn-cs"/>
              </a:rPr>
              <a:t>2022-07-16</a:t>
            </a:r>
          </a:p>
        </p:txBody>
      </p:sp>
      <p:sp>
        <p:nvSpPr>
          <p:cNvPr id="7" name="Date Placeholder 6">
            <a:extLst>
              <a:ext uri="{FF2B5EF4-FFF2-40B4-BE49-F238E27FC236}">
                <a16:creationId xmlns:a16="http://schemas.microsoft.com/office/drawing/2014/main" id="{106A8C73-A6AF-4DF0-8894-BF2EC7AA230E}"/>
              </a:ext>
            </a:extLst>
          </p:cNvPr>
          <p:cNvSpPr>
            <a:spLocks noGrp="1"/>
          </p:cNvSpPr>
          <p:nvPr>
            <p:ph type="dt" sz="half" idx="10"/>
          </p:nvPr>
        </p:nvSpPr>
        <p:spPr/>
        <p:txBody>
          <a:bodyPr/>
          <a:lstStyle/>
          <a:p>
            <a:endParaRPr lang="en-US" b="1" dirty="0"/>
          </a:p>
        </p:txBody>
      </p:sp>
      <p:sp>
        <p:nvSpPr>
          <p:cNvPr id="8" name="Footer Placeholder 7">
            <a:extLst>
              <a:ext uri="{FF2B5EF4-FFF2-40B4-BE49-F238E27FC236}">
                <a16:creationId xmlns:a16="http://schemas.microsoft.com/office/drawing/2014/main" id="{AB7F0ADB-6E9B-485D-93FC-12BF83F0A674}"/>
              </a:ext>
            </a:extLst>
          </p:cNvPr>
          <p:cNvSpPr>
            <a:spLocks noGrp="1"/>
          </p:cNvSpPr>
          <p:nvPr>
            <p:ph type="ftr" sz="quarter" idx="11"/>
          </p:nvPr>
        </p:nvSpPr>
        <p:spPr/>
        <p:txBody>
          <a:bodyPr/>
          <a:lstStyle/>
          <a:p>
            <a:endParaRPr lang="en-US" dirty="0"/>
          </a:p>
        </p:txBody>
      </p:sp>
      <p:sp>
        <p:nvSpPr>
          <p:cNvPr id="9" name="Slide Number Placeholder 8" hidden="1">
            <a:extLst>
              <a:ext uri="{FF2B5EF4-FFF2-40B4-BE49-F238E27FC236}">
                <a16:creationId xmlns:a16="http://schemas.microsoft.com/office/drawing/2014/main" id="{688F703F-EAD1-4063-8445-95277BEEE9A3}"/>
              </a:ext>
            </a:extLst>
          </p:cNvPr>
          <p:cNvSpPr>
            <a:spLocks noGrp="1"/>
          </p:cNvSpPr>
          <p:nvPr>
            <p:ph type="sldNum" sz="quarter" idx="12"/>
          </p:nvPr>
        </p:nvSpPr>
        <p:spPr/>
        <p:txBody>
          <a:bodyPr/>
          <a:lstStyle/>
          <a:p>
            <a:r>
              <a:rPr lang="en-US"/>
              <a:t> </a:t>
            </a:r>
            <a:endParaRPr lang="en-US" dirty="0"/>
          </a:p>
        </p:txBody>
      </p:sp>
    </p:spTree>
    <p:extLst>
      <p:ext uri="{BB962C8B-B14F-4D97-AF65-F5344CB8AC3E}">
        <p14:creationId xmlns:p14="http://schemas.microsoft.com/office/powerpoint/2010/main" val="1833189572"/>
      </p:ext>
    </p:extLst>
  </p:cSld>
  <p:clrMapOvr>
    <a:masterClrMapping/>
  </p:clrMapOvr>
  <p:hf hdr="0"/>
  <p:extLst mod="1">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IFX_Fullpic">
    <p:bg>
      <p:bgPr>
        <a:solidFill>
          <a:schemeClr val="accent2"/>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8C9A3C9F-7C21-45B3-9124-006DC5D0E647}"/>
              </a:ext>
            </a:extLst>
          </p:cNvPr>
          <p:cNvSpPr>
            <a:spLocks noGrp="1"/>
          </p:cNvSpPr>
          <p:nvPr>
            <p:ph type="pic" sz="quarter" idx="12"/>
          </p:nvPr>
        </p:nvSpPr>
        <p:spPr>
          <a:xfrm>
            <a:off x="0" y="0"/>
            <a:ext cx="9144000" cy="5143500"/>
          </a:xfrm>
          <a:custGeom>
            <a:avLst/>
            <a:gdLst>
              <a:gd name="connsiteX0" fmla="*/ 0 w 12192000"/>
              <a:gd name="connsiteY0" fmla="*/ 0 h 6858000"/>
              <a:gd name="connsiteX1" fmla="*/ 12192000 w 12192000"/>
              <a:gd name="connsiteY1" fmla="*/ 0 h 6858000"/>
              <a:gd name="connsiteX2" fmla="*/ 12192000 w 12192000"/>
              <a:gd name="connsiteY2" fmla="*/ 6812281 h 6858000"/>
              <a:gd name="connsiteX3" fmla="*/ 12192000 w 12192000"/>
              <a:gd name="connsiteY3" fmla="*/ 6823094 h 6858000"/>
              <a:gd name="connsiteX4" fmla="*/ 12192000 w 12192000"/>
              <a:gd name="connsiteY4" fmla="*/ 6858000 h 6858000"/>
              <a:gd name="connsiteX5" fmla="*/ 0 w 12192000"/>
              <a:gd name="connsiteY5" fmla="*/ 6858000 h 6858000"/>
              <a:gd name="connsiteX6" fmla="*/ 0 w 12192000"/>
              <a:gd name="connsiteY6" fmla="*/ 6823094 h 6858000"/>
              <a:gd name="connsiteX7" fmla="*/ 0 w 12192000"/>
              <a:gd name="connsiteY7" fmla="*/ 681228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6812281"/>
                </a:lnTo>
                <a:lnTo>
                  <a:pt x="12192000" y="6823094"/>
                </a:lnTo>
                <a:lnTo>
                  <a:pt x="12192000" y="6858000"/>
                </a:lnTo>
                <a:lnTo>
                  <a:pt x="0" y="6858000"/>
                </a:lnTo>
                <a:lnTo>
                  <a:pt x="0" y="6823094"/>
                </a:lnTo>
                <a:lnTo>
                  <a:pt x="0" y="6812281"/>
                </a:lnTo>
                <a:close/>
              </a:path>
            </a:pathLst>
          </a:custGeom>
          <a:solidFill>
            <a:schemeClr val="bg2"/>
          </a:solidFill>
        </p:spPr>
        <p:txBody>
          <a:bodyPr wrap="square" tIns="2880000">
            <a:noAutofit/>
          </a:bodyPr>
          <a:lstStyle>
            <a:lvl1pPr algn="ctr">
              <a:buNone/>
              <a:defRPr baseline="0">
                <a:latin typeface="+mn-lt"/>
                <a:ea typeface="+mn-ea"/>
                <a:cs typeface="+mn-cs"/>
              </a:defRPr>
            </a:lvl1pPr>
          </a:lstStyle>
          <a:p>
            <a:r>
              <a:rPr lang="en-US" noProof="0"/>
              <a:t>Click icon to add picture</a:t>
            </a:r>
          </a:p>
        </p:txBody>
      </p:sp>
      <p:sp>
        <p:nvSpPr>
          <p:cNvPr id="3" name="MIO_AGENDA_IGNORE_NAVIGATION" hidden="1">
            <a:extLst>
              <a:ext uri="{FF2B5EF4-FFF2-40B4-BE49-F238E27FC236}">
                <a16:creationId xmlns:a16="http://schemas.microsoft.com/office/drawing/2014/main" id="{298E6853-722D-4D8C-A4A5-A6FCEB4A06C0}"/>
              </a:ext>
            </a:extLst>
          </p:cNvPr>
          <p:cNvSpPr/>
          <p:nvPr/>
        </p:nvSpPr>
        <p:spPr bwMode="auto">
          <a:xfrm>
            <a:off x="8874822" y="87474"/>
            <a:ext cx="162018" cy="162018"/>
          </a:xfrm>
          <a:prstGeom prst="noSmoking">
            <a:avLst/>
          </a:prstGeom>
          <a:solidFill>
            <a:schemeClr val="accent4"/>
          </a:solidFill>
          <a:ln w="9525">
            <a:noFill/>
            <a:miter lim="800000"/>
            <a:headEnd/>
            <a:tailEnd/>
          </a:ln>
        </p:spPr>
        <p:txBody>
          <a:bodyPr wrap="square" lIns="54000" tIns="54000" rIns="54000" bIns="54000" rtlCol="0" anchor="ctr"/>
          <a:lstStyle/>
          <a:p>
            <a:pPr algn="ctr" eaLnBrk="0" hangingPunct="0"/>
            <a:endParaRPr lang="en-US" sz="1200" baseline="0" noProof="0">
              <a:latin typeface="+mn-lt"/>
              <a:ea typeface="+mn-ea"/>
              <a:cs typeface="+mn-cs"/>
            </a:endParaRPr>
          </a:p>
        </p:txBody>
      </p:sp>
      <p:sp>
        <p:nvSpPr>
          <p:cNvPr id="4" name="MIO_AGENDA_IGNORE_CHAPTER_REFERENCE" hidden="1">
            <a:extLst>
              <a:ext uri="{FF2B5EF4-FFF2-40B4-BE49-F238E27FC236}">
                <a16:creationId xmlns:a16="http://schemas.microsoft.com/office/drawing/2014/main" id="{4C952A04-6CCB-455C-887C-1B9A3B0ACD0B}"/>
              </a:ext>
            </a:extLst>
          </p:cNvPr>
          <p:cNvSpPr/>
          <p:nvPr/>
        </p:nvSpPr>
        <p:spPr bwMode="auto">
          <a:xfrm>
            <a:off x="8874822" y="87474"/>
            <a:ext cx="162018" cy="162018"/>
          </a:xfrm>
          <a:prstGeom prst="noSmoking">
            <a:avLst/>
          </a:prstGeom>
          <a:solidFill>
            <a:schemeClr val="accent4"/>
          </a:solidFill>
          <a:ln w="9525">
            <a:noFill/>
            <a:miter lim="800000"/>
            <a:headEnd/>
            <a:tailEnd/>
          </a:ln>
        </p:spPr>
        <p:txBody>
          <a:bodyPr wrap="square" lIns="54000" tIns="54000" rIns="54000" bIns="54000" rtlCol="0" anchor="ctr"/>
          <a:lstStyle/>
          <a:p>
            <a:pPr algn="ctr" eaLnBrk="0" hangingPunct="0"/>
            <a:endParaRPr lang="en-US" sz="1200" baseline="0" noProof="0">
              <a:latin typeface="+mn-lt"/>
              <a:ea typeface="+mn-ea"/>
              <a:cs typeface="+mn-cs"/>
            </a:endParaRPr>
          </a:p>
        </p:txBody>
      </p:sp>
      <p:sp>
        <p:nvSpPr>
          <p:cNvPr id="2" name="Date Placeholder 1">
            <a:extLst>
              <a:ext uri="{FF2B5EF4-FFF2-40B4-BE49-F238E27FC236}">
                <a16:creationId xmlns:a16="http://schemas.microsoft.com/office/drawing/2014/main" id="{E7D6FAC8-11F4-4964-9B25-EE9D1E189D30}"/>
              </a:ext>
            </a:extLst>
          </p:cNvPr>
          <p:cNvSpPr>
            <a:spLocks noGrp="1"/>
          </p:cNvSpPr>
          <p:nvPr>
            <p:ph type="dt" sz="half" idx="13"/>
          </p:nvPr>
        </p:nvSpPr>
        <p:spPr/>
        <p:txBody>
          <a:bodyPr/>
          <a:lstStyle/>
          <a:p>
            <a:endParaRPr lang="en-US" b="1" dirty="0"/>
          </a:p>
        </p:txBody>
      </p:sp>
      <p:sp>
        <p:nvSpPr>
          <p:cNvPr id="5" name="Footer Placeholder 4">
            <a:extLst>
              <a:ext uri="{FF2B5EF4-FFF2-40B4-BE49-F238E27FC236}">
                <a16:creationId xmlns:a16="http://schemas.microsoft.com/office/drawing/2014/main" id="{B6B82CD2-EA5C-4D03-98C1-175706CF32FC}"/>
              </a:ext>
            </a:extLst>
          </p:cNvPr>
          <p:cNvSpPr>
            <a:spLocks noGrp="1"/>
          </p:cNvSpPr>
          <p:nvPr>
            <p:ph type="ftr" sz="quarter" idx="14"/>
          </p:nvPr>
        </p:nvSpPr>
        <p:spPr/>
        <p:txBody>
          <a:bodyPr/>
          <a:lstStyle/>
          <a:p>
            <a:endParaRPr lang="en-US" dirty="0"/>
          </a:p>
        </p:txBody>
      </p:sp>
      <p:sp>
        <p:nvSpPr>
          <p:cNvPr id="6" name="Slide Number Placeholder 5" hidden="1">
            <a:extLst>
              <a:ext uri="{FF2B5EF4-FFF2-40B4-BE49-F238E27FC236}">
                <a16:creationId xmlns:a16="http://schemas.microsoft.com/office/drawing/2014/main" id="{6C4E2716-EC8F-40FC-B4F8-3418FB160B39}"/>
              </a:ext>
            </a:extLst>
          </p:cNvPr>
          <p:cNvSpPr>
            <a:spLocks noGrp="1"/>
          </p:cNvSpPr>
          <p:nvPr>
            <p:ph type="sldNum" sz="quarter" idx="15"/>
          </p:nvPr>
        </p:nvSpPr>
        <p:spPr/>
        <p:txBody>
          <a:bodyPr/>
          <a:lstStyle/>
          <a:p>
            <a:r>
              <a:rPr lang="en-US"/>
              <a:t> </a:t>
            </a:r>
            <a:endParaRPr lang="en-US" dirty="0"/>
          </a:p>
        </p:txBody>
      </p:sp>
    </p:spTree>
    <p:extLst>
      <p:ext uri="{BB962C8B-B14F-4D97-AF65-F5344CB8AC3E}">
        <p14:creationId xmlns:p14="http://schemas.microsoft.com/office/powerpoint/2010/main" val="3633656855"/>
      </p:ext>
    </p:extLst>
  </p:cSld>
  <p:clrMapOvr>
    <a:masterClrMapping/>
  </p:clrMapOvr>
  <p:hf hdr="0"/>
</p:sldLayout>
</file>

<file path=ppt/slideLayouts/slideLayout19.xml><?xml version="1.0" encoding="utf-8"?>
<p:sldLayout xmlns:a="http://schemas.openxmlformats.org/drawingml/2006/main" xmlns:r="http://schemas.openxmlformats.org/officeDocument/2006/relationships" xmlns:p="http://schemas.openxmlformats.org/presentationml/2006/main" type="objOnly" preserve="1">
  <p:cSld name="IFX_Final_Claim">
    <p:spTree>
      <p:nvGrpSpPr>
        <p:cNvPr id="1" name=""/>
        <p:cNvGrpSpPr/>
        <p:nvPr/>
      </p:nvGrpSpPr>
      <p:grpSpPr>
        <a:xfrm>
          <a:off x="0" y="0"/>
          <a:ext cx="0" cy="0"/>
          <a:chOff x="0" y="0"/>
          <a:chExt cx="0" cy="0"/>
        </a:xfrm>
      </p:grpSpPr>
      <p:sp>
        <p:nvSpPr>
          <p:cNvPr id="10" name="Background White">
            <a:extLst>
              <a:ext uri="{FF2B5EF4-FFF2-40B4-BE49-F238E27FC236}">
                <a16:creationId xmlns:a16="http://schemas.microsoft.com/office/drawing/2014/main" id="{8739B1C3-A1A6-48E1-B2C4-F4CE3C824436}"/>
              </a:ext>
            </a:extLst>
          </p:cNvPr>
          <p:cNvSpPr/>
          <p:nvPr/>
        </p:nvSpPr>
        <p:spPr bwMode="auto">
          <a:xfrm>
            <a:off x="0" y="0"/>
            <a:ext cx="9144000" cy="5143500"/>
          </a:xfrm>
          <a:prstGeom prst="rect">
            <a:avLst/>
          </a:prstGeom>
          <a:solidFill>
            <a:schemeClr val="bg1"/>
          </a:solidFill>
          <a:ln w="9525">
            <a:noFill/>
            <a:miter lim="800000"/>
            <a:headEnd/>
            <a:tailEnd/>
          </a:ln>
        </p:spPr>
        <p:txBody>
          <a:bodyPr wrap="square" lIns="54000" tIns="54000" rIns="54000" bIns="54000" rtlCol="0" anchor="ctr"/>
          <a:lstStyle/>
          <a:p>
            <a:pPr algn="ctr" eaLnBrk="0" hangingPunct="0"/>
            <a:endParaRPr lang="en-US" sz="1200" baseline="0" noProof="0">
              <a:latin typeface="+mn-lt"/>
              <a:ea typeface="+mn-ea"/>
              <a:cs typeface="+mn-cs"/>
            </a:endParaRPr>
          </a:p>
        </p:txBody>
      </p:sp>
      <p:pic>
        <p:nvPicPr>
          <p:cNvPr id="3" name="Logo - Claim"/>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3418914"/>
            <a:ext cx="9144000" cy="514351"/>
          </a:xfrm>
          <a:prstGeom prst="rect">
            <a:avLst/>
          </a:prstGeom>
        </p:spPr>
      </p:pic>
      <p:sp>
        <p:nvSpPr>
          <p:cNvPr id="7" name="LOGO PROTECTION" hidden="1">
            <a:extLst>
              <a:ext uri="{FF2B5EF4-FFF2-40B4-BE49-F238E27FC236}">
                <a16:creationId xmlns:a16="http://schemas.microsoft.com/office/drawing/2014/main" id="{8182E335-5A52-4E3C-BCEC-9507D81BA511}"/>
              </a:ext>
            </a:extLst>
          </p:cNvPr>
          <p:cNvSpPr/>
          <p:nvPr>
            <p:custDataLst>
              <p:tags r:id="rId1"/>
            </p:custDataLst>
          </p:nvPr>
        </p:nvSpPr>
        <p:spPr bwMode="auto">
          <a:xfrm>
            <a:off x="1358644" y="1032579"/>
            <a:ext cx="6426714" cy="3132348"/>
          </a:xfrm>
          <a:prstGeom prst="rect">
            <a:avLst/>
          </a:prstGeom>
          <a:solidFill>
            <a:schemeClr val="accent3">
              <a:alpha val="50000"/>
            </a:schemeClr>
          </a:solidFill>
          <a:ln w="9525">
            <a:noFill/>
            <a:miter lim="800000"/>
            <a:headEnd/>
            <a:tailEnd/>
          </a:ln>
        </p:spPr>
        <p:txBody>
          <a:bodyPr wrap="square" lIns="54000" tIns="54000" rIns="54000" bIns="54000" rtlCol="0" anchor="ctr"/>
          <a:lstStyle/>
          <a:p>
            <a:pPr algn="ctr" eaLnBrk="0" hangingPunct="0"/>
            <a:endParaRPr lang="en-US" sz="1200" baseline="0" noProof="0">
              <a:latin typeface="+mn-lt"/>
              <a:ea typeface="+mn-ea"/>
              <a:cs typeface="+mn-cs"/>
            </a:endParaRPr>
          </a:p>
        </p:txBody>
      </p:sp>
      <p:sp>
        <p:nvSpPr>
          <p:cNvPr id="9" name="Freeform: Shape 8">
            <a:extLst>
              <a:ext uri="{FF2B5EF4-FFF2-40B4-BE49-F238E27FC236}">
                <a16:creationId xmlns:a16="http://schemas.microsoft.com/office/drawing/2014/main" id="{4F214AAF-1E9D-4FD3-8516-DCD8CEDA1EA1}"/>
              </a:ext>
            </a:extLst>
          </p:cNvPr>
          <p:cNvSpPr/>
          <p:nvPr/>
        </p:nvSpPr>
        <p:spPr>
          <a:xfrm>
            <a:off x="3333595" y="1450425"/>
            <a:ext cx="2571988" cy="844229"/>
          </a:xfrm>
          <a:custGeom>
            <a:avLst/>
            <a:gdLst>
              <a:gd name="connsiteX0" fmla="*/ 2720290 w 3429317"/>
              <a:gd name="connsiteY0" fmla="*/ 1125639 h 1125638"/>
              <a:gd name="connsiteX1" fmla="*/ 2937850 w 3429317"/>
              <a:gd name="connsiteY1" fmla="*/ 788574 h 1125638"/>
              <a:gd name="connsiteX2" fmla="*/ 2720290 w 3429317"/>
              <a:gd name="connsiteY2" fmla="*/ 459348 h 1125638"/>
              <a:gd name="connsiteX3" fmla="*/ 2505859 w 3429317"/>
              <a:gd name="connsiteY3" fmla="*/ 791710 h 1125638"/>
              <a:gd name="connsiteX4" fmla="*/ 2720290 w 3429317"/>
              <a:gd name="connsiteY4" fmla="*/ 1125639 h 1125638"/>
              <a:gd name="connsiteX5" fmla="*/ 2638900 w 3429317"/>
              <a:gd name="connsiteY5" fmla="*/ 787007 h 1125638"/>
              <a:gd name="connsiteX6" fmla="*/ 2720290 w 3429317"/>
              <a:gd name="connsiteY6" fmla="*/ 572226 h 1125638"/>
              <a:gd name="connsiteX7" fmla="*/ 2804810 w 3429317"/>
              <a:gd name="connsiteY7" fmla="*/ 790142 h 1125638"/>
              <a:gd name="connsiteX8" fmla="*/ 2723420 w 3429317"/>
              <a:gd name="connsiteY8" fmla="*/ 1015897 h 1125638"/>
              <a:gd name="connsiteX9" fmla="*/ 2638900 w 3429317"/>
              <a:gd name="connsiteY9" fmla="*/ 787007 h 1125638"/>
              <a:gd name="connsiteX10" fmla="*/ 2238213 w 3429317"/>
              <a:gd name="connsiteY10" fmla="*/ 1125639 h 1125638"/>
              <a:gd name="connsiteX11" fmla="*/ 2418209 w 3429317"/>
              <a:gd name="connsiteY11" fmla="*/ 1040981 h 1125638"/>
              <a:gd name="connsiteX12" fmla="*/ 2369688 w 3429317"/>
              <a:gd name="connsiteY12" fmla="*/ 950052 h 1125638"/>
              <a:gd name="connsiteX13" fmla="*/ 2249169 w 3429317"/>
              <a:gd name="connsiteY13" fmla="*/ 1012761 h 1125638"/>
              <a:gd name="connsiteX14" fmla="*/ 2161519 w 3429317"/>
              <a:gd name="connsiteY14" fmla="*/ 953187 h 1125638"/>
              <a:gd name="connsiteX15" fmla="*/ 2142737 w 3429317"/>
              <a:gd name="connsiteY15" fmla="*/ 841877 h 1125638"/>
              <a:gd name="connsiteX16" fmla="*/ 2142737 w 3429317"/>
              <a:gd name="connsiteY16" fmla="*/ 829335 h 1125638"/>
              <a:gd name="connsiteX17" fmla="*/ 2424470 w 3429317"/>
              <a:gd name="connsiteY17" fmla="*/ 829335 h 1125638"/>
              <a:gd name="connsiteX18" fmla="*/ 2424470 w 3429317"/>
              <a:gd name="connsiteY18" fmla="*/ 801116 h 1125638"/>
              <a:gd name="connsiteX19" fmla="*/ 2363428 w 3429317"/>
              <a:gd name="connsiteY19" fmla="*/ 526761 h 1125638"/>
              <a:gd name="connsiteX20" fmla="*/ 2222561 w 3429317"/>
              <a:gd name="connsiteY20" fmla="*/ 459348 h 1125638"/>
              <a:gd name="connsiteX21" fmla="*/ 2070738 w 3429317"/>
              <a:gd name="connsiteY21" fmla="*/ 542439 h 1125638"/>
              <a:gd name="connsiteX22" fmla="*/ 2012826 w 3429317"/>
              <a:gd name="connsiteY22" fmla="*/ 791710 h 1125638"/>
              <a:gd name="connsiteX23" fmla="*/ 2238213 w 3429317"/>
              <a:gd name="connsiteY23" fmla="*/ 1125639 h 1125638"/>
              <a:gd name="connsiteX24" fmla="*/ 2224126 w 3429317"/>
              <a:gd name="connsiteY24" fmla="*/ 562819 h 1125638"/>
              <a:gd name="connsiteX25" fmla="*/ 2286734 w 3429317"/>
              <a:gd name="connsiteY25" fmla="*/ 608284 h 1125638"/>
              <a:gd name="connsiteX26" fmla="*/ 2300820 w 3429317"/>
              <a:gd name="connsiteY26" fmla="*/ 725865 h 1125638"/>
              <a:gd name="connsiteX27" fmla="*/ 2142737 w 3429317"/>
              <a:gd name="connsiteY27" fmla="*/ 725865 h 1125638"/>
              <a:gd name="connsiteX28" fmla="*/ 2224126 w 3429317"/>
              <a:gd name="connsiteY28" fmla="*/ 562819 h 1125638"/>
              <a:gd name="connsiteX29" fmla="*/ 3041152 w 3429317"/>
              <a:gd name="connsiteY29" fmla="*/ 1109961 h 1125638"/>
              <a:gd name="connsiteX30" fmla="*/ 3163237 w 3429317"/>
              <a:gd name="connsiteY30" fmla="*/ 1109961 h 1125638"/>
              <a:gd name="connsiteX31" fmla="*/ 3163237 w 3429317"/>
              <a:gd name="connsiteY31" fmla="*/ 639639 h 1125638"/>
              <a:gd name="connsiteX32" fmla="*/ 3252452 w 3429317"/>
              <a:gd name="connsiteY32" fmla="*/ 583200 h 1125638"/>
              <a:gd name="connsiteX33" fmla="*/ 3293147 w 3429317"/>
              <a:gd name="connsiteY33" fmla="*/ 598877 h 1125638"/>
              <a:gd name="connsiteX34" fmla="*/ 3307233 w 3429317"/>
              <a:gd name="connsiteY34" fmla="*/ 681968 h 1125638"/>
              <a:gd name="connsiteX35" fmla="*/ 3307233 w 3429317"/>
              <a:gd name="connsiteY35" fmla="*/ 1109961 h 1125638"/>
              <a:gd name="connsiteX36" fmla="*/ 3429318 w 3429317"/>
              <a:gd name="connsiteY36" fmla="*/ 1109961 h 1125638"/>
              <a:gd name="connsiteX37" fmla="*/ 3429318 w 3429317"/>
              <a:gd name="connsiteY37" fmla="*/ 625529 h 1125638"/>
              <a:gd name="connsiteX38" fmla="*/ 3399579 w 3429317"/>
              <a:gd name="connsiteY38" fmla="*/ 509516 h 1125638"/>
              <a:gd name="connsiteX39" fmla="*/ 3299408 w 3429317"/>
              <a:gd name="connsiteY39" fmla="*/ 464052 h 1125638"/>
              <a:gd name="connsiteX40" fmla="*/ 3153845 w 3429317"/>
              <a:gd name="connsiteY40" fmla="*/ 534600 h 1125638"/>
              <a:gd name="connsiteX41" fmla="*/ 3138194 w 3429317"/>
              <a:gd name="connsiteY41" fmla="*/ 459348 h 1125638"/>
              <a:gd name="connsiteX42" fmla="*/ 3023935 w 3429317"/>
              <a:gd name="connsiteY42" fmla="*/ 489136 h 1125638"/>
              <a:gd name="connsiteX43" fmla="*/ 3039587 w 3429317"/>
              <a:gd name="connsiteY43" fmla="*/ 642774 h 1125638"/>
              <a:gd name="connsiteX44" fmla="*/ 3039587 w 3429317"/>
              <a:gd name="connsiteY44" fmla="*/ 1109961 h 1125638"/>
              <a:gd name="connsiteX45" fmla="*/ 1623096 w 3429317"/>
              <a:gd name="connsiteY45" fmla="*/ 534600 h 1125638"/>
              <a:gd name="connsiteX46" fmla="*/ 1607444 w 3429317"/>
              <a:gd name="connsiteY46" fmla="*/ 459348 h 1125638"/>
              <a:gd name="connsiteX47" fmla="*/ 1493185 w 3429317"/>
              <a:gd name="connsiteY47" fmla="*/ 489136 h 1125638"/>
              <a:gd name="connsiteX48" fmla="*/ 1508837 w 3429317"/>
              <a:gd name="connsiteY48" fmla="*/ 642774 h 1125638"/>
              <a:gd name="connsiteX49" fmla="*/ 1508837 w 3429317"/>
              <a:gd name="connsiteY49" fmla="*/ 1108394 h 1125638"/>
              <a:gd name="connsiteX50" fmla="*/ 1630922 w 3429317"/>
              <a:gd name="connsiteY50" fmla="*/ 1108394 h 1125638"/>
              <a:gd name="connsiteX51" fmla="*/ 1630922 w 3429317"/>
              <a:gd name="connsiteY51" fmla="*/ 638071 h 1125638"/>
              <a:gd name="connsiteX52" fmla="*/ 1720137 w 3429317"/>
              <a:gd name="connsiteY52" fmla="*/ 581632 h 1125638"/>
              <a:gd name="connsiteX53" fmla="*/ 1760832 w 3429317"/>
              <a:gd name="connsiteY53" fmla="*/ 597310 h 1125638"/>
              <a:gd name="connsiteX54" fmla="*/ 1774919 w 3429317"/>
              <a:gd name="connsiteY54" fmla="*/ 680400 h 1125638"/>
              <a:gd name="connsiteX55" fmla="*/ 1774919 w 3429317"/>
              <a:gd name="connsiteY55" fmla="*/ 1108394 h 1125638"/>
              <a:gd name="connsiteX56" fmla="*/ 1897003 w 3429317"/>
              <a:gd name="connsiteY56" fmla="*/ 1108394 h 1125638"/>
              <a:gd name="connsiteX57" fmla="*/ 1897003 w 3429317"/>
              <a:gd name="connsiteY57" fmla="*/ 625529 h 1125638"/>
              <a:gd name="connsiteX58" fmla="*/ 1867264 w 3429317"/>
              <a:gd name="connsiteY58" fmla="*/ 509516 h 1125638"/>
              <a:gd name="connsiteX59" fmla="*/ 1767093 w 3429317"/>
              <a:gd name="connsiteY59" fmla="*/ 464052 h 1125638"/>
              <a:gd name="connsiteX60" fmla="*/ 1623096 w 3429317"/>
              <a:gd name="connsiteY60" fmla="*/ 534600 h 1125638"/>
              <a:gd name="connsiteX61" fmla="*/ 129910 w 3429317"/>
              <a:gd name="connsiteY61" fmla="*/ 260245 h 1125638"/>
              <a:gd name="connsiteX62" fmla="*/ 259820 w 3429317"/>
              <a:gd name="connsiteY62" fmla="*/ 130123 h 1125638"/>
              <a:gd name="connsiteX63" fmla="*/ 129910 w 3429317"/>
              <a:gd name="connsiteY63" fmla="*/ 0 h 1125638"/>
              <a:gd name="connsiteX64" fmla="*/ 0 w 3429317"/>
              <a:gd name="connsiteY64" fmla="*/ 130123 h 1125638"/>
              <a:gd name="connsiteX65" fmla="*/ 129910 w 3429317"/>
              <a:gd name="connsiteY65" fmla="*/ 260245 h 1125638"/>
              <a:gd name="connsiteX66" fmla="*/ 729376 w 3429317"/>
              <a:gd name="connsiteY66" fmla="*/ 1109961 h 1125638"/>
              <a:gd name="connsiteX67" fmla="*/ 729376 w 3429317"/>
              <a:gd name="connsiteY67" fmla="*/ 625529 h 1125638"/>
              <a:gd name="connsiteX68" fmla="*/ 699637 w 3429317"/>
              <a:gd name="connsiteY68" fmla="*/ 509516 h 1125638"/>
              <a:gd name="connsiteX69" fmla="*/ 599465 w 3429317"/>
              <a:gd name="connsiteY69" fmla="*/ 464052 h 1125638"/>
              <a:gd name="connsiteX70" fmla="*/ 453903 w 3429317"/>
              <a:gd name="connsiteY70" fmla="*/ 534600 h 1125638"/>
              <a:gd name="connsiteX71" fmla="*/ 438251 w 3429317"/>
              <a:gd name="connsiteY71" fmla="*/ 459348 h 1125638"/>
              <a:gd name="connsiteX72" fmla="*/ 325558 w 3429317"/>
              <a:gd name="connsiteY72" fmla="*/ 490703 h 1125638"/>
              <a:gd name="connsiteX73" fmla="*/ 341210 w 3429317"/>
              <a:gd name="connsiteY73" fmla="*/ 644342 h 1125638"/>
              <a:gd name="connsiteX74" fmla="*/ 341210 w 3429317"/>
              <a:gd name="connsiteY74" fmla="*/ 1109961 h 1125638"/>
              <a:gd name="connsiteX75" fmla="*/ 463294 w 3429317"/>
              <a:gd name="connsiteY75" fmla="*/ 1109961 h 1125638"/>
              <a:gd name="connsiteX76" fmla="*/ 463294 w 3429317"/>
              <a:gd name="connsiteY76" fmla="*/ 639639 h 1125638"/>
              <a:gd name="connsiteX77" fmla="*/ 552510 w 3429317"/>
              <a:gd name="connsiteY77" fmla="*/ 583200 h 1125638"/>
              <a:gd name="connsiteX78" fmla="*/ 593205 w 3429317"/>
              <a:gd name="connsiteY78" fmla="*/ 598877 h 1125638"/>
              <a:gd name="connsiteX79" fmla="*/ 607291 w 3429317"/>
              <a:gd name="connsiteY79" fmla="*/ 681968 h 1125638"/>
              <a:gd name="connsiteX80" fmla="*/ 607291 w 3429317"/>
              <a:gd name="connsiteY80" fmla="*/ 1109961 h 1125638"/>
              <a:gd name="connsiteX81" fmla="*/ 729376 w 3429317"/>
              <a:gd name="connsiteY81" fmla="*/ 1109961 h 1125638"/>
              <a:gd name="connsiteX82" fmla="*/ 1291277 w 3429317"/>
              <a:gd name="connsiteY82" fmla="*/ 225755 h 1125638"/>
              <a:gd name="connsiteX83" fmla="*/ 1209887 w 3429317"/>
              <a:gd name="connsiteY83" fmla="*/ 307277 h 1125638"/>
              <a:gd name="connsiteX84" fmla="*/ 1289712 w 3429317"/>
              <a:gd name="connsiteY84" fmla="*/ 388800 h 1125638"/>
              <a:gd name="connsiteX85" fmla="*/ 1371101 w 3429317"/>
              <a:gd name="connsiteY85" fmla="*/ 307277 h 1125638"/>
              <a:gd name="connsiteX86" fmla="*/ 1291277 w 3429317"/>
              <a:gd name="connsiteY86" fmla="*/ 225755 h 1125638"/>
              <a:gd name="connsiteX87" fmla="*/ 71998 w 3429317"/>
              <a:gd name="connsiteY87" fmla="*/ 1109961 h 1125638"/>
              <a:gd name="connsiteX88" fmla="*/ 194083 w 3429317"/>
              <a:gd name="connsiteY88" fmla="*/ 1109961 h 1125638"/>
              <a:gd name="connsiteX89" fmla="*/ 194083 w 3429317"/>
              <a:gd name="connsiteY89" fmla="*/ 346471 h 1125638"/>
              <a:gd name="connsiteX90" fmla="*/ 71998 w 3429317"/>
              <a:gd name="connsiteY90" fmla="*/ 362148 h 1125638"/>
              <a:gd name="connsiteX91" fmla="*/ 71998 w 3429317"/>
              <a:gd name="connsiteY91" fmla="*/ 1109961 h 1125638"/>
              <a:gd name="connsiteX92" fmla="*/ 1069021 w 3429317"/>
              <a:gd name="connsiteY92" fmla="*/ 301006 h 1125638"/>
              <a:gd name="connsiteX93" fmla="*/ 1126932 w 3429317"/>
              <a:gd name="connsiteY93" fmla="*/ 319819 h 1125638"/>
              <a:gd name="connsiteX94" fmla="*/ 1161366 w 3429317"/>
              <a:gd name="connsiteY94" fmla="*/ 224187 h 1125638"/>
              <a:gd name="connsiteX95" fmla="*/ 1047108 w 3429317"/>
              <a:gd name="connsiteY95" fmla="*/ 189697 h 1125638"/>
              <a:gd name="connsiteX96" fmla="*/ 953197 w 3429317"/>
              <a:gd name="connsiteY96" fmla="*/ 221052 h 1125638"/>
              <a:gd name="connsiteX97" fmla="*/ 892155 w 3429317"/>
              <a:gd name="connsiteY97" fmla="*/ 390368 h 1125638"/>
              <a:gd name="connsiteX98" fmla="*/ 893720 w 3429317"/>
              <a:gd name="connsiteY98" fmla="*/ 473458 h 1125638"/>
              <a:gd name="connsiteX99" fmla="*/ 851460 w 3429317"/>
              <a:gd name="connsiteY99" fmla="*/ 473458 h 1125638"/>
              <a:gd name="connsiteX100" fmla="*/ 851460 w 3429317"/>
              <a:gd name="connsiteY100" fmla="*/ 581632 h 1125638"/>
              <a:gd name="connsiteX101" fmla="*/ 893720 w 3429317"/>
              <a:gd name="connsiteY101" fmla="*/ 581632 h 1125638"/>
              <a:gd name="connsiteX102" fmla="*/ 893720 w 3429317"/>
              <a:gd name="connsiteY102" fmla="*/ 1108394 h 1125638"/>
              <a:gd name="connsiteX103" fmla="*/ 1018935 w 3429317"/>
              <a:gd name="connsiteY103" fmla="*/ 1108394 h 1125638"/>
              <a:gd name="connsiteX104" fmla="*/ 1018935 w 3429317"/>
              <a:gd name="connsiteY104" fmla="*/ 583200 h 1125638"/>
              <a:gd name="connsiteX105" fmla="*/ 1111281 w 3429317"/>
              <a:gd name="connsiteY105" fmla="*/ 583200 h 1125638"/>
              <a:gd name="connsiteX106" fmla="*/ 1134758 w 3429317"/>
              <a:gd name="connsiteY106" fmla="*/ 475026 h 1125638"/>
              <a:gd name="connsiteX107" fmla="*/ 1020500 w 3429317"/>
              <a:gd name="connsiteY107" fmla="*/ 475026 h 1125638"/>
              <a:gd name="connsiteX108" fmla="*/ 1020500 w 3429317"/>
              <a:gd name="connsiteY108" fmla="*/ 377826 h 1125638"/>
              <a:gd name="connsiteX109" fmla="*/ 1069021 w 3429317"/>
              <a:gd name="connsiteY109" fmla="*/ 301006 h 1125638"/>
              <a:gd name="connsiteX110" fmla="*/ 1228669 w 3429317"/>
              <a:gd name="connsiteY110" fmla="*/ 1109961 h 1125638"/>
              <a:gd name="connsiteX111" fmla="*/ 1352319 w 3429317"/>
              <a:gd name="connsiteY111" fmla="*/ 1109961 h 1125638"/>
              <a:gd name="connsiteX112" fmla="*/ 1352319 w 3429317"/>
              <a:gd name="connsiteY112" fmla="*/ 464052 h 1125638"/>
              <a:gd name="connsiteX113" fmla="*/ 1228669 w 3429317"/>
              <a:gd name="connsiteY113" fmla="*/ 479729 h 1125638"/>
              <a:gd name="connsiteX114" fmla="*/ 1228669 w 3429317"/>
              <a:gd name="connsiteY114" fmla="*/ 1109961 h 1125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3429317" h="1125638">
                <a:moveTo>
                  <a:pt x="2720290" y="1125639"/>
                </a:moveTo>
                <a:cubicBezTo>
                  <a:pt x="2886199" y="1125639"/>
                  <a:pt x="2937850" y="950052"/>
                  <a:pt x="2937850" y="788574"/>
                </a:cubicBezTo>
                <a:cubicBezTo>
                  <a:pt x="2937850" y="572226"/>
                  <a:pt x="2847069" y="459348"/>
                  <a:pt x="2720290" y="459348"/>
                </a:cubicBezTo>
                <a:cubicBezTo>
                  <a:pt x="2560641" y="459348"/>
                  <a:pt x="2504294" y="634936"/>
                  <a:pt x="2505859" y="791710"/>
                </a:cubicBezTo>
                <a:cubicBezTo>
                  <a:pt x="2507425" y="946916"/>
                  <a:pt x="2551250" y="1125639"/>
                  <a:pt x="2720290" y="1125639"/>
                </a:cubicBezTo>
                <a:close/>
                <a:moveTo>
                  <a:pt x="2638900" y="787007"/>
                </a:moveTo>
                <a:cubicBezTo>
                  <a:pt x="2638900" y="722729"/>
                  <a:pt x="2638900" y="572226"/>
                  <a:pt x="2720290" y="572226"/>
                </a:cubicBezTo>
                <a:cubicBezTo>
                  <a:pt x="2807940" y="572226"/>
                  <a:pt x="2804810" y="721161"/>
                  <a:pt x="2804810" y="790142"/>
                </a:cubicBezTo>
                <a:cubicBezTo>
                  <a:pt x="2804810" y="855987"/>
                  <a:pt x="2804810" y="1015897"/>
                  <a:pt x="2723420" y="1015897"/>
                </a:cubicBezTo>
                <a:cubicBezTo>
                  <a:pt x="2635770" y="1014329"/>
                  <a:pt x="2638900" y="854419"/>
                  <a:pt x="2638900" y="787007"/>
                </a:cubicBezTo>
                <a:close/>
                <a:moveTo>
                  <a:pt x="2238213" y="1125639"/>
                </a:moveTo>
                <a:cubicBezTo>
                  <a:pt x="2305516" y="1125639"/>
                  <a:pt x="2363428" y="1098987"/>
                  <a:pt x="2418209" y="1040981"/>
                </a:cubicBezTo>
                <a:lnTo>
                  <a:pt x="2369688" y="950052"/>
                </a:lnTo>
                <a:cubicBezTo>
                  <a:pt x="2332124" y="990813"/>
                  <a:pt x="2294560" y="1012761"/>
                  <a:pt x="2249169" y="1012761"/>
                </a:cubicBezTo>
                <a:cubicBezTo>
                  <a:pt x="2211605" y="1012761"/>
                  <a:pt x="2180301" y="990813"/>
                  <a:pt x="2161519" y="953187"/>
                </a:cubicBezTo>
                <a:cubicBezTo>
                  <a:pt x="2145867" y="920265"/>
                  <a:pt x="2142737" y="882639"/>
                  <a:pt x="2142737" y="841877"/>
                </a:cubicBezTo>
                <a:lnTo>
                  <a:pt x="2142737" y="829335"/>
                </a:lnTo>
                <a:lnTo>
                  <a:pt x="2424470" y="829335"/>
                </a:lnTo>
                <a:lnTo>
                  <a:pt x="2424470" y="801116"/>
                </a:lnTo>
                <a:cubicBezTo>
                  <a:pt x="2424470" y="661587"/>
                  <a:pt x="2407253" y="584768"/>
                  <a:pt x="2363428" y="526761"/>
                </a:cubicBezTo>
                <a:cubicBezTo>
                  <a:pt x="2330559" y="482865"/>
                  <a:pt x="2282038" y="459348"/>
                  <a:pt x="2222561" y="459348"/>
                </a:cubicBezTo>
                <a:cubicBezTo>
                  <a:pt x="2159954" y="459348"/>
                  <a:pt x="2108303" y="487568"/>
                  <a:pt x="2070738" y="542439"/>
                </a:cubicBezTo>
                <a:cubicBezTo>
                  <a:pt x="2030044" y="602013"/>
                  <a:pt x="2012826" y="681968"/>
                  <a:pt x="2012826" y="791710"/>
                </a:cubicBezTo>
                <a:cubicBezTo>
                  <a:pt x="2011261" y="1001787"/>
                  <a:pt x="2094216" y="1125639"/>
                  <a:pt x="2238213" y="1125639"/>
                </a:cubicBezTo>
                <a:close/>
                <a:moveTo>
                  <a:pt x="2224126" y="562819"/>
                </a:moveTo>
                <a:cubicBezTo>
                  <a:pt x="2255430" y="562819"/>
                  <a:pt x="2274212" y="580065"/>
                  <a:pt x="2286734" y="608284"/>
                </a:cubicBezTo>
                <a:cubicBezTo>
                  <a:pt x="2296125" y="633368"/>
                  <a:pt x="2300820" y="675697"/>
                  <a:pt x="2300820" y="725865"/>
                </a:cubicBezTo>
                <a:lnTo>
                  <a:pt x="2142737" y="725865"/>
                </a:lnTo>
                <a:cubicBezTo>
                  <a:pt x="2144302" y="614555"/>
                  <a:pt x="2167780" y="562819"/>
                  <a:pt x="2224126" y="562819"/>
                </a:cubicBezTo>
                <a:close/>
                <a:moveTo>
                  <a:pt x="3041152" y="1109961"/>
                </a:moveTo>
                <a:lnTo>
                  <a:pt x="3163237" y="1109961"/>
                </a:lnTo>
                <a:lnTo>
                  <a:pt x="3163237" y="639639"/>
                </a:lnTo>
                <a:cubicBezTo>
                  <a:pt x="3192975" y="603581"/>
                  <a:pt x="3227409" y="583200"/>
                  <a:pt x="3252452" y="583200"/>
                </a:cubicBezTo>
                <a:cubicBezTo>
                  <a:pt x="3268104" y="583200"/>
                  <a:pt x="3283756" y="586335"/>
                  <a:pt x="3293147" y="598877"/>
                </a:cubicBezTo>
                <a:cubicBezTo>
                  <a:pt x="3302538" y="612987"/>
                  <a:pt x="3307233" y="633368"/>
                  <a:pt x="3307233" y="681968"/>
                </a:cubicBezTo>
                <a:lnTo>
                  <a:pt x="3307233" y="1109961"/>
                </a:lnTo>
                <a:lnTo>
                  <a:pt x="3429318" y="1109961"/>
                </a:lnTo>
                <a:lnTo>
                  <a:pt x="3429318" y="625529"/>
                </a:lnTo>
                <a:cubicBezTo>
                  <a:pt x="3429318" y="583200"/>
                  <a:pt x="3424622" y="540871"/>
                  <a:pt x="3399579" y="509516"/>
                </a:cubicBezTo>
                <a:cubicBezTo>
                  <a:pt x="3377667" y="481297"/>
                  <a:pt x="3343233" y="464052"/>
                  <a:pt x="3299408" y="464052"/>
                </a:cubicBezTo>
                <a:cubicBezTo>
                  <a:pt x="3243061" y="464052"/>
                  <a:pt x="3185149" y="496974"/>
                  <a:pt x="3153845" y="534600"/>
                </a:cubicBezTo>
                <a:cubicBezTo>
                  <a:pt x="3152280" y="501677"/>
                  <a:pt x="3141324" y="470323"/>
                  <a:pt x="3138194" y="459348"/>
                </a:cubicBezTo>
                <a:lnTo>
                  <a:pt x="3023935" y="489136"/>
                </a:lnTo>
                <a:cubicBezTo>
                  <a:pt x="3030196" y="523626"/>
                  <a:pt x="3039587" y="565955"/>
                  <a:pt x="3039587" y="642774"/>
                </a:cubicBezTo>
                <a:lnTo>
                  <a:pt x="3039587" y="1109961"/>
                </a:lnTo>
                <a:close/>
                <a:moveTo>
                  <a:pt x="1623096" y="534600"/>
                </a:moveTo>
                <a:cubicBezTo>
                  <a:pt x="1621530" y="501677"/>
                  <a:pt x="1610574" y="470323"/>
                  <a:pt x="1607444" y="459348"/>
                </a:cubicBezTo>
                <a:lnTo>
                  <a:pt x="1493185" y="489136"/>
                </a:lnTo>
                <a:cubicBezTo>
                  <a:pt x="1499446" y="523626"/>
                  <a:pt x="1508837" y="565955"/>
                  <a:pt x="1508837" y="642774"/>
                </a:cubicBezTo>
                <a:lnTo>
                  <a:pt x="1508837" y="1108394"/>
                </a:lnTo>
                <a:lnTo>
                  <a:pt x="1630922" y="1108394"/>
                </a:lnTo>
                <a:lnTo>
                  <a:pt x="1630922" y="638071"/>
                </a:lnTo>
                <a:cubicBezTo>
                  <a:pt x="1660660" y="602013"/>
                  <a:pt x="1695094" y="581632"/>
                  <a:pt x="1720137" y="581632"/>
                </a:cubicBezTo>
                <a:cubicBezTo>
                  <a:pt x="1735789" y="581632"/>
                  <a:pt x="1751441" y="584768"/>
                  <a:pt x="1760832" y="597310"/>
                </a:cubicBezTo>
                <a:cubicBezTo>
                  <a:pt x="1770223" y="611419"/>
                  <a:pt x="1774919" y="631800"/>
                  <a:pt x="1774919" y="680400"/>
                </a:cubicBezTo>
                <a:lnTo>
                  <a:pt x="1774919" y="1108394"/>
                </a:lnTo>
                <a:lnTo>
                  <a:pt x="1897003" y="1108394"/>
                </a:lnTo>
                <a:lnTo>
                  <a:pt x="1897003" y="625529"/>
                </a:lnTo>
                <a:cubicBezTo>
                  <a:pt x="1897003" y="583200"/>
                  <a:pt x="1892307" y="540871"/>
                  <a:pt x="1867264" y="509516"/>
                </a:cubicBezTo>
                <a:cubicBezTo>
                  <a:pt x="1845352" y="481297"/>
                  <a:pt x="1810918" y="464052"/>
                  <a:pt x="1767093" y="464052"/>
                </a:cubicBezTo>
                <a:cubicBezTo>
                  <a:pt x="1712311" y="464052"/>
                  <a:pt x="1654399" y="496974"/>
                  <a:pt x="1623096" y="534600"/>
                </a:cubicBezTo>
                <a:close/>
                <a:moveTo>
                  <a:pt x="129910" y="260245"/>
                </a:moveTo>
                <a:cubicBezTo>
                  <a:pt x="201909" y="260245"/>
                  <a:pt x="259820" y="202239"/>
                  <a:pt x="259820" y="130123"/>
                </a:cubicBezTo>
                <a:cubicBezTo>
                  <a:pt x="259820" y="58006"/>
                  <a:pt x="201909" y="0"/>
                  <a:pt x="129910" y="0"/>
                </a:cubicBezTo>
                <a:cubicBezTo>
                  <a:pt x="57912" y="0"/>
                  <a:pt x="0" y="58006"/>
                  <a:pt x="0" y="130123"/>
                </a:cubicBezTo>
                <a:cubicBezTo>
                  <a:pt x="0" y="202239"/>
                  <a:pt x="57912" y="260245"/>
                  <a:pt x="129910" y="260245"/>
                </a:cubicBezTo>
                <a:close/>
                <a:moveTo>
                  <a:pt x="729376" y="1109961"/>
                </a:moveTo>
                <a:lnTo>
                  <a:pt x="729376" y="625529"/>
                </a:lnTo>
                <a:cubicBezTo>
                  <a:pt x="729376" y="583200"/>
                  <a:pt x="724680" y="540871"/>
                  <a:pt x="699637" y="509516"/>
                </a:cubicBezTo>
                <a:cubicBezTo>
                  <a:pt x="677725" y="481297"/>
                  <a:pt x="643291" y="464052"/>
                  <a:pt x="599465" y="464052"/>
                </a:cubicBezTo>
                <a:cubicBezTo>
                  <a:pt x="543119" y="464052"/>
                  <a:pt x="485207" y="496974"/>
                  <a:pt x="453903" y="534600"/>
                </a:cubicBezTo>
                <a:cubicBezTo>
                  <a:pt x="452338" y="501677"/>
                  <a:pt x="441382" y="470323"/>
                  <a:pt x="438251" y="459348"/>
                </a:cubicBezTo>
                <a:lnTo>
                  <a:pt x="325558" y="490703"/>
                </a:lnTo>
                <a:cubicBezTo>
                  <a:pt x="331819" y="525194"/>
                  <a:pt x="341210" y="567523"/>
                  <a:pt x="341210" y="644342"/>
                </a:cubicBezTo>
                <a:lnTo>
                  <a:pt x="341210" y="1109961"/>
                </a:lnTo>
                <a:lnTo>
                  <a:pt x="463294" y="1109961"/>
                </a:lnTo>
                <a:lnTo>
                  <a:pt x="463294" y="639639"/>
                </a:lnTo>
                <a:cubicBezTo>
                  <a:pt x="493033" y="603581"/>
                  <a:pt x="527467" y="583200"/>
                  <a:pt x="552510" y="583200"/>
                </a:cubicBezTo>
                <a:cubicBezTo>
                  <a:pt x="568162" y="583200"/>
                  <a:pt x="583814" y="586335"/>
                  <a:pt x="593205" y="598877"/>
                </a:cubicBezTo>
                <a:cubicBezTo>
                  <a:pt x="602596" y="612987"/>
                  <a:pt x="607291" y="633368"/>
                  <a:pt x="607291" y="681968"/>
                </a:cubicBezTo>
                <a:lnTo>
                  <a:pt x="607291" y="1109961"/>
                </a:lnTo>
                <a:lnTo>
                  <a:pt x="729376" y="1109961"/>
                </a:lnTo>
                <a:close/>
                <a:moveTo>
                  <a:pt x="1291277" y="225755"/>
                </a:moveTo>
                <a:cubicBezTo>
                  <a:pt x="1245886" y="225755"/>
                  <a:pt x="1209887" y="261813"/>
                  <a:pt x="1209887" y="307277"/>
                </a:cubicBezTo>
                <a:cubicBezTo>
                  <a:pt x="1209887" y="352742"/>
                  <a:pt x="1245886" y="388800"/>
                  <a:pt x="1289712" y="388800"/>
                </a:cubicBezTo>
                <a:cubicBezTo>
                  <a:pt x="1335102" y="388800"/>
                  <a:pt x="1371101" y="352742"/>
                  <a:pt x="1371101" y="307277"/>
                </a:cubicBezTo>
                <a:cubicBezTo>
                  <a:pt x="1371101" y="261813"/>
                  <a:pt x="1335102" y="225755"/>
                  <a:pt x="1291277" y="225755"/>
                </a:cubicBezTo>
                <a:close/>
                <a:moveTo>
                  <a:pt x="71998" y="1109961"/>
                </a:moveTo>
                <a:lnTo>
                  <a:pt x="194083" y="1109961"/>
                </a:lnTo>
                <a:lnTo>
                  <a:pt x="194083" y="346471"/>
                </a:lnTo>
                <a:lnTo>
                  <a:pt x="71998" y="362148"/>
                </a:lnTo>
                <a:lnTo>
                  <a:pt x="71998" y="1109961"/>
                </a:lnTo>
                <a:close/>
                <a:moveTo>
                  <a:pt x="1069021" y="301006"/>
                </a:moveTo>
                <a:cubicBezTo>
                  <a:pt x="1090933" y="301006"/>
                  <a:pt x="1112846" y="308845"/>
                  <a:pt x="1126932" y="319819"/>
                </a:cubicBezTo>
                <a:lnTo>
                  <a:pt x="1161366" y="224187"/>
                </a:lnTo>
                <a:cubicBezTo>
                  <a:pt x="1128498" y="200671"/>
                  <a:pt x="1092498" y="189697"/>
                  <a:pt x="1047108" y="189697"/>
                </a:cubicBezTo>
                <a:cubicBezTo>
                  <a:pt x="1015804" y="189697"/>
                  <a:pt x="982935" y="197535"/>
                  <a:pt x="953197" y="221052"/>
                </a:cubicBezTo>
                <a:cubicBezTo>
                  <a:pt x="923458" y="246135"/>
                  <a:pt x="892155" y="296303"/>
                  <a:pt x="892155" y="390368"/>
                </a:cubicBezTo>
                <a:cubicBezTo>
                  <a:pt x="892155" y="431129"/>
                  <a:pt x="893720" y="473458"/>
                  <a:pt x="893720" y="473458"/>
                </a:cubicBezTo>
                <a:lnTo>
                  <a:pt x="851460" y="473458"/>
                </a:lnTo>
                <a:lnTo>
                  <a:pt x="851460" y="581632"/>
                </a:lnTo>
                <a:lnTo>
                  <a:pt x="893720" y="581632"/>
                </a:lnTo>
                <a:lnTo>
                  <a:pt x="893720" y="1108394"/>
                </a:lnTo>
                <a:lnTo>
                  <a:pt x="1018935" y="1108394"/>
                </a:lnTo>
                <a:lnTo>
                  <a:pt x="1018935" y="583200"/>
                </a:lnTo>
                <a:lnTo>
                  <a:pt x="1111281" y="583200"/>
                </a:lnTo>
                <a:lnTo>
                  <a:pt x="1134758" y="475026"/>
                </a:lnTo>
                <a:lnTo>
                  <a:pt x="1020500" y="475026"/>
                </a:lnTo>
                <a:lnTo>
                  <a:pt x="1020500" y="377826"/>
                </a:lnTo>
                <a:cubicBezTo>
                  <a:pt x="1020500" y="330794"/>
                  <a:pt x="1039282" y="301006"/>
                  <a:pt x="1069021" y="301006"/>
                </a:cubicBezTo>
                <a:close/>
                <a:moveTo>
                  <a:pt x="1228669" y="1109961"/>
                </a:moveTo>
                <a:lnTo>
                  <a:pt x="1352319" y="1109961"/>
                </a:lnTo>
                <a:lnTo>
                  <a:pt x="1352319" y="464052"/>
                </a:lnTo>
                <a:lnTo>
                  <a:pt x="1228669" y="479729"/>
                </a:lnTo>
                <a:lnTo>
                  <a:pt x="1228669" y="1109961"/>
                </a:lnTo>
                <a:close/>
              </a:path>
            </a:pathLst>
          </a:custGeom>
          <a:solidFill>
            <a:srgbClr val="005DA9"/>
          </a:solidFill>
          <a:ln w="15629" cap="flat">
            <a:noFill/>
            <a:prstDash val="solid"/>
            <a:miter/>
          </a:ln>
        </p:spPr>
        <p:txBody>
          <a:bodyPr rtlCol="0" anchor="ctr"/>
          <a:lstStyle/>
          <a:p>
            <a:endParaRPr lang="en-US" sz="1800" baseline="0" noProof="0">
              <a:latin typeface="+mn-lt"/>
              <a:ea typeface="+mn-ea"/>
              <a:cs typeface="+mn-cs"/>
            </a:endParaRPr>
          </a:p>
        </p:txBody>
      </p:sp>
      <p:sp>
        <p:nvSpPr>
          <p:cNvPr id="11" name="Freeform: Shape 10">
            <a:extLst>
              <a:ext uri="{FF2B5EF4-FFF2-40B4-BE49-F238E27FC236}">
                <a16:creationId xmlns:a16="http://schemas.microsoft.com/office/drawing/2014/main" id="{2F60EEAB-08EF-4699-AAD1-3E74796DF911}"/>
              </a:ext>
            </a:extLst>
          </p:cNvPr>
          <p:cNvSpPr/>
          <p:nvPr/>
        </p:nvSpPr>
        <p:spPr>
          <a:xfrm>
            <a:off x="2894561" y="1313122"/>
            <a:ext cx="3326798" cy="1458160"/>
          </a:xfrm>
          <a:custGeom>
            <a:avLst/>
            <a:gdLst>
              <a:gd name="connsiteX0" fmla="*/ 3764267 w 4435730"/>
              <a:gd name="connsiteY0" fmla="*/ 1637936 h 1944213"/>
              <a:gd name="connsiteX1" fmla="*/ 2357167 w 4435730"/>
              <a:gd name="connsiteY1" fmla="*/ 1813523 h 1944213"/>
              <a:gd name="connsiteX2" fmla="*/ 248864 w 4435730"/>
              <a:gd name="connsiteY2" fmla="*/ 962240 h 1944213"/>
              <a:gd name="connsiteX3" fmla="*/ 608857 w 4435730"/>
              <a:gd name="connsiteY3" fmla="*/ 452723 h 1944213"/>
              <a:gd name="connsiteX4" fmla="*/ 538423 w 4435730"/>
              <a:gd name="connsiteY4" fmla="*/ 314762 h 1944213"/>
              <a:gd name="connsiteX5" fmla="*/ 0 w 4435730"/>
              <a:gd name="connsiteY5" fmla="*/ 976349 h 1944213"/>
              <a:gd name="connsiteX6" fmla="*/ 2369688 w 4435730"/>
              <a:gd name="connsiteY6" fmla="*/ 1943646 h 1944213"/>
              <a:gd name="connsiteX7" fmla="*/ 3646878 w 4435730"/>
              <a:gd name="connsiteY7" fmla="*/ 1744543 h 1944213"/>
              <a:gd name="connsiteX8" fmla="*/ 4435731 w 4435730"/>
              <a:gd name="connsiteY8" fmla="*/ 1302440 h 1944213"/>
              <a:gd name="connsiteX9" fmla="*/ 3764267 w 4435730"/>
              <a:gd name="connsiteY9" fmla="*/ 1637936 h 1944213"/>
              <a:gd name="connsiteX10" fmla="*/ 1136323 w 4435730"/>
              <a:gd name="connsiteY10" fmla="*/ 214427 h 1944213"/>
              <a:gd name="connsiteX11" fmla="*/ 1336667 w 4435730"/>
              <a:gd name="connsiteY11" fmla="*/ 150149 h 1944213"/>
              <a:gd name="connsiteX12" fmla="*/ 2371254 w 4435730"/>
              <a:gd name="connsiteY12" fmla="*/ 9052 h 1944213"/>
              <a:gd name="connsiteX13" fmla="*/ 1311624 w 4435730"/>
              <a:gd name="connsiteY13" fmla="*/ 65491 h 1944213"/>
              <a:gd name="connsiteX14" fmla="*/ 1097194 w 4435730"/>
              <a:gd name="connsiteY14" fmla="*/ 110956 h 1944213"/>
              <a:gd name="connsiteX15" fmla="*/ 1011109 w 4435730"/>
              <a:gd name="connsiteY15" fmla="*/ 134472 h 1944213"/>
              <a:gd name="connsiteX16" fmla="*/ 932850 w 4435730"/>
              <a:gd name="connsiteY16" fmla="*/ 156420 h 1944213"/>
              <a:gd name="connsiteX17" fmla="*/ 838939 w 4435730"/>
              <a:gd name="connsiteY17" fmla="*/ 187775 h 1944213"/>
              <a:gd name="connsiteX18" fmla="*/ 890590 w 4435730"/>
              <a:gd name="connsiteY18" fmla="*/ 306923 h 1944213"/>
              <a:gd name="connsiteX19" fmla="*/ 1136323 w 4435730"/>
              <a:gd name="connsiteY19" fmla="*/ 214427 h 194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435730" h="1944213">
                <a:moveTo>
                  <a:pt x="3764267" y="1637936"/>
                </a:moveTo>
                <a:cubicBezTo>
                  <a:pt x="3351059" y="1760220"/>
                  <a:pt x="2848635" y="1813523"/>
                  <a:pt x="2357167" y="1813523"/>
                </a:cubicBezTo>
                <a:cubicBezTo>
                  <a:pt x="1109715" y="1813523"/>
                  <a:pt x="305211" y="1446672"/>
                  <a:pt x="248864" y="962240"/>
                </a:cubicBezTo>
                <a:cubicBezTo>
                  <a:pt x="228517" y="780381"/>
                  <a:pt x="370949" y="603227"/>
                  <a:pt x="608857" y="452723"/>
                </a:cubicBezTo>
                <a:cubicBezTo>
                  <a:pt x="566597" y="421369"/>
                  <a:pt x="539988" y="371201"/>
                  <a:pt x="538423" y="314762"/>
                </a:cubicBezTo>
                <a:cubicBezTo>
                  <a:pt x="194083" y="496620"/>
                  <a:pt x="0" y="734917"/>
                  <a:pt x="0" y="976349"/>
                </a:cubicBezTo>
                <a:cubicBezTo>
                  <a:pt x="0" y="1510949"/>
                  <a:pt x="953197" y="1962459"/>
                  <a:pt x="2369688" y="1943646"/>
                </a:cubicBezTo>
                <a:cubicBezTo>
                  <a:pt x="2862721" y="1937375"/>
                  <a:pt x="3274365" y="1866827"/>
                  <a:pt x="3646878" y="1744543"/>
                </a:cubicBezTo>
                <a:cubicBezTo>
                  <a:pt x="4089825" y="1600311"/>
                  <a:pt x="4368428" y="1393369"/>
                  <a:pt x="4435731" y="1302440"/>
                </a:cubicBezTo>
                <a:cubicBezTo>
                  <a:pt x="4355907" y="1374556"/>
                  <a:pt x="4166520" y="1518788"/>
                  <a:pt x="3764267" y="1637936"/>
                </a:cubicBezTo>
                <a:close/>
                <a:moveTo>
                  <a:pt x="1136323" y="214427"/>
                </a:moveTo>
                <a:cubicBezTo>
                  <a:pt x="1219278" y="186207"/>
                  <a:pt x="1336667" y="150149"/>
                  <a:pt x="1336667" y="150149"/>
                </a:cubicBezTo>
                <a:cubicBezTo>
                  <a:pt x="1666921" y="59220"/>
                  <a:pt x="2031609" y="5917"/>
                  <a:pt x="2371254" y="9052"/>
                </a:cubicBezTo>
                <a:cubicBezTo>
                  <a:pt x="1979958" y="-14464"/>
                  <a:pt x="1623096" y="9052"/>
                  <a:pt x="1311624" y="65491"/>
                </a:cubicBezTo>
                <a:cubicBezTo>
                  <a:pt x="1311624" y="65491"/>
                  <a:pt x="1208322" y="82736"/>
                  <a:pt x="1097194" y="110956"/>
                </a:cubicBezTo>
                <a:cubicBezTo>
                  <a:pt x="1097194" y="110956"/>
                  <a:pt x="1043978" y="125065"/>
                  <a:pt x="1011109" y="134472"/>
                </a:cubicBezTo>
                <a:cubicBezTo>
                  <a:pt x="978240" y="143878"/>
                  <a:pt x="932850" y="156420"/>
                  <a:pt x="932850" y="156420"/>
                </a:cubicBezTo>
                <a:cubicBezTo>
                  <a:pt x="901546" y="165827"/>
                  <a:pt x="870242" y="176801"/>
                  <a:pt x="838939" y="187775"/>
                </a:cubicBezTo>
                <a:cubicBezTo>
                  <a:pt x="870242" y="219130"/>
                  <a:pt x="889024" y="259891"/>
                  <a:pt x="890590" y="306923"/>
                </a:cubicBezTo>
                <a:cubicBezTo>
                  <a:pt x="945371" y="281840"/>
                  <a:pt x="1050238" y="244214"/>
                  <a:pt x="1136323" y="214427"/>
                </a:cubicBezTo>
                <a:close/>
              </a:path>
            </a:pathLst>
          </a:custGeom>
          <a:solidFill>
            <a:srgbClr val="E30034"/>
          </a:solidFill>
          <a:ln w="15629" cap="flat">
            <a:noFill/>
            <a:prstDash val="solid"/>
            <a:miter/>
          </a:ln>
        </p:spPr>
        <p:txBody>
          <a:bodyPr rtlCol="0" anchor="ctr"/>
          <a:lstStyle/>
          <a:p>
            <a:endParaRPr lang="en-US" sz="1800" baseline="0" noProof="0">
              <a:latin typeface="+mn-lt"/>
              <a:ea typeface="+mn-ea"/>
              <a:cs typeface="+mn-cs"/>
            </a:endParaRPr>
          </a:p>
        </p:txBody>
      </p:sp>
      <p:sp>
        <p:nvSpPr>
          <p:cNvPr id="6" name="MIO_AGENDA_LAST_SLIDE" hidden="1">
            <a:extLst>
              <a:ext uri="{FF2B5EF4-FFF2-40B4-BE49-F238E27FC236}">
                <a16:creationId xmlns:a16="http://schemas.microsoft.com/office/drawing/2014/main" id="{45591D6F-6D52-44E5-B3AA-2575CCD45201}"/>
              </a:ext>
            </a:extLst>
          </p:cNvPr>
          <p:cNvSpPr/>
          <p:nvPr/>
        </p:nvSpPr>
        <p:spPr bwMode="auto">
          <a:xfrm>
            <a:off x="8874822" y="87474"/>
            <a:ext cx="162018" cy="162018"/>
          </a:xfrm>
          <a:prstGeom prst="noSmoking">
            <a:avLst/>
          </a:prstGeom>
          <a:solidFill>
            <a:schemeClr val="accent4"/>
          </a:solidFill>
          <a:ln w="9525">
            <a:noFill/>
            <a:miter lim="800000"/>
            <a:headEnd/>
            <a:tailEnd/>
          </a:ln>
        </p:spPr>
        <p:txBody>
          <a:bodyPr wrap="square" lIns="54000" tIns="54000" rIns="54000" bIns="54000" rtlCol="0" anchor="ctr"/>
          <a:lstStyle/>
          <a:p>
            <a:pPr algn="ctr" eaLnBrk="0" hangingPunct="0"/>
            <a:endParaRPr lang="en-US" sz="1200" baseline="0" noProof="0">
              <a:latin typeface="+mn-lt"/>
              <a:ea typeface="+mn-ea"/>
              <a:cs typeface="+mn-cs"/>
            </a:endParaRPr>
          </a:p>
        </p:txBody>
      </p:sp>
      <p:sp>
        <p:nvSpPr>
          <p:cNvPr id="12" name="MIO_AGENDA_IGNORE_NAVIGATION" hidden="1">
            <a:extLst>
              <a:ext uri="{FF2B5EF4-FFF2-40B4-BE49-F238E27FC236}">
                <a16:creationId xmlns:a16="http://schemas.microsoft.com/office/drawing/2014/main" id="{C7038F66-C11F-4566-ADAF-A099AF957551}"/>
              </a:ext>
            </a:extLst>
          </p:cNvPr>
          <p:cNvSpPr/>
          <p:nvPr/>
        </p:nvSpPr>
        <p:spPr bwMode="auto">
          <a:xfrm>
            <a:off x="8874822" y="87474"/>
            <a:ext cx="162018" cy="162018"/>
          </a:xfrm>
          <a:prstGeom prst="noSmoking">
            <a:avLst/>
          </a:prstGeom>
          <a:solidFill>
            <a:schemeClr val="accent4"/>
          </a:solidFill>
          <a:ln w="9525">
            <a:noFill/>
            <a:miter lim="800000"/>
            <a:headEnd/>
            <a:tailEnd/>
          </a:ln>
        </p:spPr>
        <p:txBody>
          <a:bodyPr wrap="square" lIns="54000" tIns="54000" rIns="54000" bIns="54000" rtlCol="0" anchor="ctr"/>
          <a:lstStyle/>
          <a:p>
            <a:pPr algn="ctr" eaLnBrk="0" hangingPunct="0"/>
            <a:endParaRPr lang="en-US" sz="1200" baseline="0" noProof="0">
              <a:latin typeface="+mn-lt"/>
              <a:ea typeface="+mn-ea"/>
              <a:cs typeface="+mn-cs"/>
            </a:endParaRPr>
          </a:p>
        </p:txBody>
      </p:sp>
      <p:sp>
        <p:nvSpPr>
          <p:cNvPr id="13" name="MIO_AGENDA_IGNORE_CHAPTER_REFERENCE" hidden="1">
            <a:extLst>
              <a:ext uri="{FF2B5EF4-FFF2-40B4-BE49-F238E27FC236}">
                <a16:creationId xmlns:a16="http://schemas.microsoft.com/office/drawing/2014/main" id="{E0318986-8EA2-446A-AFF2-E8441C3AF8A6}"/>
              </a:ext>
            </a:extLst>
          </p:cNvPr>
          <p:cNvSpPr/>
          <p:nvPr/>
        </p:nvSpPr>
        <p:spPr bwMode="auto">
          <a:xfrm>
            <a:off x="8874822" y="87474"/>
            <a:ext cx="162018" cy="162018"/>
          </a:xfrm>
          <a:prstGeom prst="noSmoking">
            <a:avLst/>
          </a:prstGeom>
          <a:solidFill>
            <a:schemeClr val="accent4"/>
          </a:solidFill>
          <a:ln w="9525">
            <a:noFill/>
            <a:miter lim="800000"/>
            <a:headEnd/>
            <a:tailEnd/>
          </a:ln>
        </p:spPr>
        <p:txBody>
          <a:bodyPr wrap="square" lIns="54000" tIns="54000" rIns="54000" bIns="54000" rtlCol="0" anchor="ctr"/>
          <a:lstStyle/>
          <a:p>
            <a:pPr algn="ctr" eaLnBrk="0" hangingPunct="0"/>
            <a:endParaRPr lang="en-US" sz="1200" baseline="0" noProof="0">
              <a:latin typeface="+mn-lt"/>
              <a:ea typeface="+mn-ea"/>
              <a:cs typeface="+mn-cs"/>
            </a:endParaRPr>
          </a:p>
        </p:txBody>
      </p:sp>
      <p:sp>
        <p:nvSpPr>
          <p:cNvPr id="8" name="Date Placeholder 7">
            <a:extLst>
              <a:ext uri="{FF2B5EF4-FFF2-40B4-BE49-F238E27FC236}">
                <a16:creationId xmlns:a16="http://schemas.microsoft.com/office/drawing/2014/main" id="{087EFA22-3F6E-4210-A8FC-0864CD1DE4EF}"/>
              </a:ext>
            </a:extLst>
          </p:cNvPr>
          <p:cNvSpPr>
            <a:spLocks noGrp="1"/>
          </p:cNvSpPr>
          <p:nvPr>
            <p:ph type="dt" sz="half" idx="10"/>
          </p:nvPr>
        </p:nvSpPr>
        <p:spPr/>
        <p:txBody>
          <a:bodyPr/>
          <a:lstStyle/>
          <a:p>
            <a:endParaRPr lang="en-US" b="1" dirty="0"/>
          </a:p>
        </p:txBody>
      </p:sp>
      <p:sp>
        <p:nvSpPr>
          <p:cNvPr id="14" name="Footer Placeholder 13">
            <a:extLst>
              <a:ext uri="{FF2B5EF4-FFF2-40B4-BE49-F238E27FC236}">
                <a16:creationId xmlns:a16="http://schemas.microsoft.com/office/drawing/2014/main" id="{BDF262C8-30D5-474A-BD81-CA14ACCE51B5}"/>
              </a:ext>
            </a:extLst>
          </p:cNvPr>
          <p:cNvSpPr>
            <a:spLocks noGrp="1"/>
          </p:cNvSpPr>
          <p:nvPr>
            <p:ph type="ftr" sz="quarter" idx="11"/>
          </p:nvPr>
        </p:nvSpPr>
        <p:spPr/>
        <p:txBody>
          <a:bodyPr/>
          <a:lstStyle/>
          <a:p>
            <a:endParaRPr lang="en-US" dirty="0"/>
          </a:p>
        </p:txBody>
      </p:sp>
      <p:sp>
        <p:nvSpPr>
          <p:cNvPr id="15" name="Slide Number Placeholder 14" hidden="1">
            <a:extLst>
              <a:ext uri="{FF2B5EF4-FFF2-40B4-BE49-F238E27FC236}">
                <a16:creationId xmlns:a16="http://schemas.microsoft.com/office/drawing/2014/main" id="{3F1C5DF9-A781-4661-8C3B-816A398ADFDD}"/>
              </a:ext>
            </a:extLst>
          </p:cNvPr>
          <p:cNvSpPr>
            <a:spLocks noGrp="1"/>
          </p:cNvSpPr>
          <p:nvPr>
            <p:ph type="sldNum" sz="quarter" idx="12"/>
          </p:nvPr>
        </p:nvSpPr>
        <p:spPr/>
        <p:txBody>
          <a:bodyPr/>
          <a:lstStyle/>
          <a:p>
            <a:r>
              <a:rPr lang="en-US"/>
              <a:t> </a:t>
            </a:r>
            <a:endParaRPr lang="en-US" dirty="0"/>
          </a:p>
        </p:txBody>
      </p:sp>
      <p:pic>
        <p:nvPicPr>
          <p:cNvPr id="16" name="Grafik 2">
            <a:extLst>
              <a:ext uri="{FF2B5EF4-FFF2-40B4-BE49-F238E27FC236}">
                <a16:creationId xmlns:a16="http://schemas.microsoft.com/office/drawing/2014/main" id="{B8415400-E9B4-4500-88E0-41CA7EA4FCA7}"/>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0" y="457"/>
            <a:ext cx="9144000" cy="5142586"/>
          </a:xfrm>
          <a:prstGeom prst="rect">
            <a:avLst/>
          </a:prstGeom>
        </p:spPr>
      </p:pic>
    </p:spTree>
    <p:extLst>
      <p:ext uri="{BB962C8B-B14F-4D97-AF65-F5344CB8AC3E}">
        <p14:creationId xmlns:p14="http://schemas.microsoft.com/office/powerpoint/2010/main" val="2401754999"/>
      </p:ext>
    </p:extLst>
  </p:cSld>
  <p:clrMapOvr>
    <a:masterClrMapping/>
  </p:clrMapOvr>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txAndClipArt" preserve="1">
  <p:cSld name="IFX_PresentationTitle_1">
    <p:bg>
      <p:bgPr>
        <a:solidFill>
          <a:schemeClr val="bg1"/>
        </a:solidFill>
        <a:effectLst/>
      </p:bgPr>
    </p:bg>
    <p:spTree>
      <p:nvGrpSpPr>
        <p:cNvPr id="1" name=""/>
        <p:cNvGrpSpPr/>
        <p:nvPr/>
      </p:nvGrpSpPr>
      <p:grpSpPr>
        <a:xfrm>
          <a:off x="0" y="0"/>
          <a:ext cx="0" cy="0"/>
          <a:chOff x="0" y="0"/>
          <a:chExt cx="0" cy="0"/>
        </a:xfrm>
      </p:grpSpPr>
      <p:sp>
        <p:nvSpPr>
          <p:cNvPr id="5" name="LOGO PROTECTION" hidden="1">
            <a:extLst>
              <a:ext uri="{FF2B5EF4-FFF2-40B4-BE49-F238E27FC236}">
                <a16:creationId xmlns:a16="http://schemas.microsoft.com/office/drawing/2014/main" id="{501C1CF0-6452-4D4E-9BC7-65EADBD5EEC4}"/>
              </a:ext>
            </a:extLst>
          </p:cNvPr>
          <p:cNvSpPr/>
          <p:nvPr>
            <p:custDataLst>
              <p:tags r:id="rId1"/>
            </p:custDataLst>
          </p:nvPr>
        </p:nvSpPr>
        <p:spPr bwMode="auto">
          <a:xfrm>
            <a:off x="7218294" y="4002910"/>
            <a:ext cx="1545538" cy="837092"/>
          </a:xfrm>
          <a:prstGeom prst="rect">
            <a:avLst/>
          </a:prstGeom>
          <a:solidFill>
            <a:schemeClr val="accent3">
              <a:alpha val="50000"/>
            </a:schemeClr>
          </a:solidFill>
          <a:ln w="9525">
            <a:noFill/>
            <a:miter lim="800000"/>
            <a:headEnd/>
            <a:tailEnd/>
          </a:ln>
        </p:spPr>
        <p:txBody>
          <a:bodyPr wrap="square" lIns="54000" tIns="54000" rIns="54000" bIns="54000" rtlCol="0" anchor="ctr"/>
          <a:lstStyle/>
          <a:p>
            <a:pPr algn="ctr" eaLnBrk="0" hangingPunct="0"/>
            <a:endParaRPr lang="en-US" sz="1200" baseline="0" noProof="0">
              <a:latin typeface="+mn-lt"/>
              <a:ea typeface="+mn-ea"/>
              <a:cs typeface="+mn-cs"/>
            </a:endParaRPr>
          </a:p>
        </p:txBody>
      </p:sp>
      <p:sp>
        <p:nvSpPr>
          <p:cNvPr id="7" name="Background White">
            <a:extLst>
              <a:ext uri="{FF2B5EF4-FFF2-40B4-BE49-F238E27FC236}">
                <a16:creationId xmlns:a16="http://schemas.microsoft.com/office/drawing/2014/main" id="{FBA286CB-2DB7-49EA-ABB9-E63BB6315EDB}"/>
              </a:ext>
            </a:extLst>
          </p:cNvPr>
          <p:cNvSpPr/>
          <p:nvPr/>
        </p:nvSpPr>
        <p:spPr bwMode="auto">
          <a:xfrm>
            <a:off x="0" y="0"/>
            <a:ext cx="9144900" cy="5143500"/>
          </a:xfrm>
          <a:prstGeom prst="rect">
            <a:avLst/>
          </a:prstGeom>
          <a:solidFill>
            <a:schemeClr val="bg1"/>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21" name="Picture Placeholder 20">
            <a:extLst>
              <a:ext uri="{FF2B5EF4-FFF2-40B4-BE49-F238E27FC236}">
                <a16:creationId xmlns:a16="http://schemas.microsoft.com/office/drawing/2014/main" id="{0015D233-C9CC-4F11-A8E7-A76873C0D175}"/>
              </a:ext>
            </a:extLst>
          </p:cNvPr>
          <p:cNvSpPr>
            <a:spLocks noGrp="1"/>
          </p:cNvSpPr>
          <p:nvPr>
            <p:ph type="pic" sz="quarter" idx="18"/>
          </p:nvPr>
        </p:nvSpPr>
        <p:spPr>
          <a:xfrm>
            <a:off x="0" y="54"/>
            <a:ext cx="9144900" cy="3853997"/>
          </a:xfrm>
          <a:custGeom>
            <a:avLst/>
            <a:gdLst>
              <a:gd name="connsiteX0" fmla="*/ 0 w 12193200"/>
              <a:gd name="connsiteY0" fmla="*/ 3366965 h 5138663"/>
              <a:gd name="connsiteX1" fmla="*/ 2568673 w 12193200"/>
              <a:gd name="connsiteY1" fmla="*/ 4457302 h 5138663"/>
              <a:gd name="connsiteX2" fmla="*/ 2562846 w 12193200"/>
              <a:gd name="connsiteY2" fmla="*/ 4486161 h 5138663"/>
              <a:gd name="connsiteX3" fmla="*/ 2638446 w 12193200"/>
              <a:gd name="connsiteY3" fmla="*/ 4561761 h 5138663"/>
              <a:gd name="connsiteX4" fmla="*/ 2647610 w 12193200"/>
              <a:gd name="connsiteY4" fmla="*/ 4559911 h 5138663"/>
              <a:gd name="connsiteX5" fmla="*/ 2719581 w 12193200"/>
              <a:gd name="connsiteY5" fmla="*/ 5014319 h 5138663"/>
              <a:gd name="connsiteX6" fmla="*/ 0 w 12193200"/>
              <a:gd name="connsiteY6" fmla="*/ 5138663 h 5138663"/>
              <a:gd name="connsiteX7" fmla="*/ 9696955 w 12193200"/>
              <a:gd name="connsiteY7" fmla="*/ 2861324 h 5138663"/>
              <a:gd name="connsiteX8" fmla="*/ 8393835 w 12193200"/>
              <a:gd name="connsiteY8" fmla="*/ 4754883 h 5138663"/>
              <a:gd name="connsiteX9" fmla="*/ 2732347 w 12193200"/>
              <a:gd name="connsiteY9" fmla="*/ 5013736 h 5138663"/>
              <a:gd name="connsiteX10" fmla="*/ 2660069 w 12193200"/>
              <a:gd name="connsiteY10" fmla="*/ 4557396 h 5138663"/>
              <a:gd name="connsiteX11" fmla="*/ 2667873 w 12193200"/>
              <a:gd name="connsiteY11" fmla="*/ 4555820 h 5138663"/>
              <a:gd name="connsiteX12" fmla="*/ 2714046 w 12193200"/>
              <a:gd name="connsiteY12" fmla="*/ 4486161 h 5138663"/>
              <a:gd name="connsiteX13" fmla="*/ 2711595 w 12193200"/>
              <a:gd name="connsiteY13" fmla="*/ 4474021 h 5138663"/>
              <a:gd name="connsiteX14" fmla="*/ 12193200 w 12193200"/>
              <a:gd name="connsiteY14" fmla="*/ 2285021 h 5138663"/>
              <a:gd name="connsiteX15" fmla="*/ 12193200 w 12193200"/>
              <a:gd name="connsiteY15" fmla="*/ 4581170 h 5138663"/>
              <a:gd name="connsiteX16" fmla="*/ 8409753 w 12193200"/>
              <a:gd name="connsiteY16" fmla="*/ 4754155 h 5138663"/>
              <a:gd name="connsiteX17" fmla="*/ 9715284 w 12193200"/>
              <a:gd name="connsiteY17" fmla="*/ 2857093 h 5138663"/>
              <a:gd name="connsiteX18" fmla="*/ 11681495 w 12193200"/>
              <a:gd name="connsiteY18" fmla="*/ 0 h 5138663"/>
              <a:gd name="connsiteX19" fmla="*/ 12193200 w 12193200"/>
              <a:gd name="connsiteY19" fmla="*/ 0 h 5138663"/>
              <a:gd name="connsiteX20" fmla="*/ 12193200 w 12193200"/>
              <a:gd name="connsiteY20" fmla="*/ 2271987 h 5138663"/>
              <a:gd name="connsiteX21" fmla="*/ 9725948 w 12193200"/>
              <a:gd name="connsiteY21" fmla="*/ 2841597 h 5138663"/>
              <a:gd name="connsiteX22" fmla="*/ 0 w 12193200"/>
              <a:gd name="connsiteY22" fmla="*/ 0 h 5138663"/>
              <a:gd name="connsiteX23" fmla="*/ 11666079 w 12193200"/>
              <a:gd name="connsiteY23" fmla="*/ 0 h 5138663"/>
              <a:gd name="connsiteX24" fmla="*/ 9707619 w 12193200"/>
              <a:gd name="connsiteY24" fmla="*/ 2845829 h 5138663"/>
              <a:gd name="connsiteX25" fmla="*/ 2709081 w 12193200"/>
              <a:gd name="connsiteY25" fmla="*/ 4461568 h 5138663"/>
              <a:gd name="connsiteX26" fmla="*/ 2708105 w 12193200"/>
              <a:gd name="connsiteY26" fmla="*/ 4456734 h 5138663"/>
              <a:gd name="connsiteX27" fmla="*/ 2638446 w 12193200"/>
              <a:gd name="connsiteY27" fmla="*/ 4410561 h 5138663"/>
              <a:gd name="connsiteX28" fmla="*/ 2584989 w 12193200"/>
              <a:gd name="connsiteY28" fmla="*/ 4432704 h 5138663"/>
              <a:gd name="connsiteX29" fmla="*/ 2575696 w 12193200"/>
              <a:gd name="connsiteY29" fmla="*/ 4446487 h 5138663"/>
              <a:gd name="connsiteX30" fmla="*/ 0 w 12193200"/>
              <a:gd name="connsiteY30" fmla="*/ 3353169 h 5138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193200" h="5138663">
                <a:moveTo>
                  <a:pt x="0" y="3366965"/>
                </a:moveTo>
                <a:lnTo>
                  <a:pt x="2568673" y="4457302"/>
                </a:lnTo>
                <a:lnTo>
                  <a:pt x="2562846" y="4486161"/>
                </a:lnTo>
                <a:cubicBezTo>
                  <a:pt x="2562846" y="4527914"/>
                  <a:pt x="2596693" y="4561761"/>
                  <a:pt x="2638446" y="4561761"/>
                </a:cubicBezTo>
                <a:lnTo>
                  <a:pt x="2647610" y="4559911"/>
                </a:lnTo>
                <a:lnTo>
                  <a:pt x="2719581" y="5014319"/>
                </a:lnTo>
                <a:lnTo>
                  <a:pt x="0" y="5138663"/>
                </a:lnTo>
                <a:close/>
                <a:moveTo>
                  <a:pt x="9696955" y="2861324"/>
                </a:moveTo>
                <a:lnTo>
                  <a:pt x="8393835" y="4754883"/>
                </a:lnTo>
                <a:lnTo>
                  <a:pt x="2732347" y="5013736"/>
                </a:lnTo>
                <a:lnTo>
                  <a:pt x="2660069" y="4557396"/>
                </a:lnTo>
                <a:lnTo>
                  <a:pt x="2667873" y="4555820"/>
                </a:lnTo>
                <a:cubicBezTo>
                  <a:pt x="2695007" y="4544344"/>
                  <a:pt x="2714046" y="4517476"/>
                  <a:pt x="2714046" y="4486161"/>
                </a:cubicBezTo>
                <a:lnTo>
                  <a:pt x="2711595" y="4474021"/>
                </a:lnTo>
                <a:close/>
                <a:moveTo>
                  <a:pt x="12193200" y="2285021"/>
                </a:moveTo>
                <a:lnTo>
                  <a:pt x="12193200" y="4581170"/>
                </a:lnTo>
                <a:lnTo>
                  <a:pt x="8409753" y="4754155"/>
                </a:lnTo>
                <a:lnTo>
                  <a:pt x="9715284" y="2857093"/>
                </a:lnTo>
                <a:close/>
                <a:moveTo>
                  <a:pt x="11681495" y="0"/>
                </a:moveTo>
                <a:lnTo>
                  <a:pt x="12193200" y="0"/>
                </a:lnTo>
                <a:lnTo>
                  <a:pt x="12193200" y="2271987"/>
                </a:lnTo>
                <a:lnTo>
                  <a:pt x="9725948" y="2841597"/>
                </a:lnTo>
                <a:close/>
                <a:moveTo>
                  <a:pt x="0" y="0"/>
                </a:moveTo>
                <a:lnTo>
                  <a:pt x="11666079" y="0"/>
                </a:lnTo>
                <a:lnTo>
                  <a:pt x="9707619" y="2845829"/>
                </a:lnTo>
                <a:lnTo>
                  <a:pt x="2709081" y="4461568"/>
                </a:lnTo>
                <a:lnTo>
                  <a:pt x="2708105" y="4456734"/>
                </a:lnTo>
                <a:cubicBezTo>
                  <a:pt x="2696629" y="4429600"/>
                  <a:pt x="2669761" y="4410561"/>
                  <a:pt x="2638446" y="4410561"/>
                </a:cubicBezTo>
                <a:cubicBezTo>
                  <a:pt x="2617570" y="4410561"/>
                  <a:pt x="2598670" y="4419023"/>
                  <a:pt x="2584989" y="4432704"/>
                </a:cubicBezTo>
                <a:lnTo>
                  <a:pt x="2575696" y="4446487"/>
                </a:lnTo>
                <a:lnTo>
                  <a:pt x="0" y="3353169"/>
                </a:lnTo>
                <a:close/>
              </a:path>
            </a:pathLst>
          </a:custGeom>
          <a:blipFill>
            <a:blip r:embed="rId7"/>
            <a:stretch>
              <a:fillRect/>
            </a:stretch>
          </a:blipFill>
        </p:spPr>
        <p:txBody>
          <a:bodyPr wrap="square" tIns="0" bIns="828000" anchor="ctr" anchorCtr="1">
            <a:noAutofit/>
          </a:bodyPr>
          <a:lstStyle>
            <a:lvl1pPr>
              <a:buFontTx/>
              <a:buNone/>
              <a:defRPr sz="1200" baseline="0">
                <a:latin typeface="+mn-lt"/>
                <a:ea typeface="+mn-ea"/>
                <a:cs typeface="+mn-cs"/>
              </a:defRPr>
            </a:lvl1pPr>
          </a:lstStyle>
          <a:p>
            <a:r>
              <a:rPr lang="en-US" noProof="0"/>
              <a:t>Click icon to add picture</a:t>
            </a:r>
          </a:p>
        </p:txBody>
      </p:sp>
      <p:sp>
        <p:nvSpPr>
          <p:cNvPr id="35" name="Subtitle"/>
          <p:cNvSpPr>
            <a:spLocks noGrp="1"/>
          </p:cNvSpPr>
          <p:nvPr>
            <p:ph type="subTitle" idx="1" hasCustomPrompt="1"/>
          </p:nvPr>
        </p:nvSpPr>
        <p:spPr>
          <a:xfrm>
            <a:off x="468000" y="4247100"/>
            <a:ext cx="6210000" cy="459000"/>
          </a:xfrm>
          <a:prstGeom prst="rect">
            <a:avLst/>
          </a:prstGeom>
        </p:spPr>
        <p:txBody>
          <a:bodyPr vert="horz" wrap="square" lIns="0" tIns="0" rIns="0" bIns="0" rtlCol="0" anchor="b" anchorCtr="0">
            <a:noAutofit/>
          </a:bodyPr>
          <a:lstStyle>
            <a:lvl1pPr marL="0" indent="0" algn="l">
              <a:spcAft>
                <a:spcPts val="0"/>
              </a:spcAft>
              <a:buNone/>
              <a:defRPr lang="en-GB" sz="1500" baseline="0" noProof="0" dirty="0">
                <a:solidFill>
                  <a:schemeClr val="tx1"/>
                </a:solidFill>
                <a:latin typeface="+mn-lt"/>
                <a:ea typeface="+mn-ea"/>
                <a:cs typeface="+mn-cs"/>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pPr lvl="0"/>
            <a:r>
              <a:rPr lang="en-US" noProof="0"/>
              <a:t>Author (department)</a:t>
            </a:r>
            <a:br>
              <a:rPr lang="en-US" noProof="0"/>
            </a:br>
            <a:r>
              <a:rPr lang="en-US" noProof="0"/>
              <a:t>Date</a:t>
            </a:r>
          </a:p>
        </p:txBody>
      </p:sp>
      <p:sp>
        <p:nvSpPr>
          <p:cNvPr id="15" name="Title">
            <a:extLst>
              <a:ext uri="{FF2B5EF4-FFF2-40B4-BE49-F238E27FC236}">
                <a16:creationId xmlns:a16="http://schemas.microsoft.com/office/drawing/2014/main" id="{0926292C-4FD6-404F-8149-3EB0B4DF87BE}"/>
              </a:ext>
            </a:extLst>
          </p:cNvPr>
          <p:cNvSpPr>
            <a:spLocks noGrp="1"/>
          </p:cNvSpPr>
          <p:nvPr>
            <p:ph type="title" hasCustomPrompt="1"/>
          </p:nvPr>
        </p:nvSpPr>
        <p:spPr>
          <a:xfrm>
            <a:off x="468313" y="930404"/>
            <a:ext cx="6210000" cy="485775"/>
          </a:xfrm>
        </p:spPr>
        <p:txBody>
          <a:bodyPr anchor="b"/>
          <a:lstStyle>
            <a:lvl1pPr algn="l">
              <a:defRPr sz="2700" baseline="0">
                <a:latin typeface="+mj-lt"/>
                <a:ea typeface="+mj-ea"/>
                <a:cs typeface="+mj-cs"/>
              </a:defRPr>
            </a:lvl1pPr>
          </a:lstStyle>
          <a:p>
            <a:r>
              <a:rPr lang="en-US" noProof="0"/>
              <a:t>Please  type in title</a:t>
            </a:r>
          </a:p>
        </p:txBody>
      </p:sp>
      <p:sp>
        <p:nvSpPr>
          <p:cNvPr id="8" name="empower_classification_attention_placeholder" hidden="1">
            <a:extLst>
              <a:ext uri="{FF2B5EF4-FFF2-40B4-BE49-F238E27FC236}">
                <a16:creationId xmlns:a16="http://schemas.microsoft.com/office/drawing/2014/main" id="{275E4ACD-2699-4EB4-B72E-2EBE63C205D6}"/>
              </a:ext>
            </a:extLst>
          </p:cNvPr>
          <p:cNvSpPr txBox="1"/>
          <p:nvPr>
            <p:custDataLst>
              <p:tags r:id="rId2"/>
            </p:custDataLst>
          </p:nvPr>
        </p:nvSpPr>
        <p:spPr bwMode="auto">
          <a:xfrm>
            <a:off x="4058850" y="4876200"/>
            <a:ext cx="1026301" cy="216694"/>
          </a:xfrm>
          <a:prstGeom prst="rect">
            <a:avLst/>
          </a:prstGeom>
          <a:noFill/>
          <a:ln w="9525">
            <a:noFill/>
            <a:miter lim="800000"/>
            <a:headEnd/>
            <a:tailEnd/>
          </a:ln>
          <a:effectLst/>
        </p:spPr>
        <p:txBody>
          <a:bodyPr wrap="none" lIns="0" tIns="0" rIns="0" bIns="0" rtlCol="0" anchor="ctr" anchorCtr="0">
            <a:noAutofit/>
          </a:bodyPr>
          <a:lstStyle/>
          <a:p>
            <a:pPr marL="0" marR="0" indent="0" algn="ctr"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900" kern="0" baseline="0" noProof="0">
                <a:solidFill>
                  <a:srgbClr val="E30034"/>
                </a:solidFill>
                <a:latin typeface="+mn-lt"/>
                <a:ea typeface="+mn-ea"/>
                <a:cs typeface="+mn-cs"/>
              </a:rPr>
              <a:t>Restricted</a:t>
            </a:r>
          </a:p>
        </p:txBody>
      </p:sp>
      <p:sp>
        <p:nvSpPr>
          <p:cNvPr id="9" name="empower_classification_placeholder">
            <a:extLst>
              <a:ext uri="{FF2B5EF4-FFF2-40B4-BE49-F238E27FC236}">
                <a16:creationId xmlns:a16="http://schemas.microsoft.com/office/drawing/2014/main" id="{2E1A11AC-1395-4E21-827C-BF03F1350E73}"/>
              </a:ext>
            </a:extLst>
          </p:cNvPr>
          <p:cNvSpPr txBox="1"/>
          <p:nvPr>
            <p:custDataLst>
              <p:tags r:id="rId3"/>
            </p:custDataLst>
          </p:nvPr>
        </p:nvSpPr>
        <p:spPr bwMode="auto">
          <a:xfrm>
            <a:off x="4059000" y="4876200"/>
            <a:ext cx="1026000" cy="216694"/>
          </a:xfrm>
          <a:prstGeom prst="rect">
            <a:avLst/>
          </a:prstGeom>
          <a:noFill/>
          <a:ln w="9525">
            <a:noFill/>
            <a:miter lim="800000"/>
            <a:headEnd/>
            <a:tailEnd/>
          </a:ln>
          <a:effectLst/>
        </p:spPr>
        <p:txBody>
          <a:bodyPr wrap="none" lIns="0" tIns="0" rIns="0" bIns="0" rtlCol="0" anchor="ctr" anchorCtr="0">
            <a:noAutofit/>
          </a:bodyPr>
          <a:lstStyle/>
          <a:p>
            <a:pPr marL="0" marR="0" indent="0" algn="ctr"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900" kern="0" baseline="0" noProof="0">
                <a:solidFill>
                  <a:srgbClr val="928285"/>
                </a:solidFill>
                <a:latin typeface="+mn-lt"/>
                <a:ea typeface="+mn-ea"/>
                <a:cs typeface="+mn-cs"/>
              </a:rPr>
              <a:t>restricted</a:t>
            </a:r>
          </a:p>
        </p:txBody>
      </p:sp>
      <p:sp>
        <p:nvSpPr>
          <p:cNvPr id="10" name="empower_document_placeholder" hidden="1">
            <a:extLst>
              <a:ext uri="{FF2B5EF4-FFF2-40B4-BE49-F238E27FC236}">
                <a16:creationId xmlns:a16="http://schemas.microsoft.com/office/drawing/2014/main" id="{8A1DAB4F-0FA1-4116-AD11-2FAD7B4CA74A}"/>
              </a:ext>
            </a:extLst>
          </p:cNvPr>
          <p:cNvSpPr txBox="1"/>
          <p:nvPr>
            <p:custDataLst>
              <p:tags r:id="rId4"/>
            </p:custDataLst>
          </p:nvPr>
        </p:nvSpPr>
        <p:spPr bwMode="auto">
          <a:xfrm>
            <a:off x="468001" y="4876200"/>
            <a:ext cx="2430065" cy="216694"/>
          </a:xfrm>
          <a:prstGeom prst="rect">
            <a:avLst/>
          </a:prstGeom>
          <a:noFill/>
          <a:ln w="9525">
            <a:noFill/>
            <a:miter lim="800000"/>
            <a:headEnd/>
            <a:tailEnd/>
          </a:ln>
          <a:effectLst/>
        </p:spPr>
        <p:txBody>
          <a:bodyPr wrap="none" lIns="0" tIns="0" rIns="0" bIns="0" rtlCol="0" anchor="ctr" anchorCtr="0">
            <a:noAutofit/>
          </a:bodyPr>
          <a:lstStyle/>
          <a:p>
            <a:pPr marL="0" marR="0" indent="0"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900" kern="0" baseline="0" noProof="0">
                <a:solidFill>
                  <a:srgbClr val="928285"/>
                </a:solidFill>
                <a:latin typeface="+mn-lt"/>
                <a:ea typeface="+mn-ea"/>
                <a:cs typeface="+mn-cs"/>
              </a:rPr>
              <a:t>[Owner:   Doc ID:   Vers.: ]</a:t>
            </a:r>
          </a:p>
        </p:txBody>
      </p:sp>
      <p:sp>
        <p:nvSpPr>
          <p:cNvPr id="19" name="empower_draft_placeholder" hidden="1">
            <a:extLst>
              <a:ext uri="{FF2B5EF4-FFF2-40B4-BE49-F238E27FC236}">
                <a16:creationId xmlns:a16="http://schemas.microsoft.com/office/drawing/2014/main" id="{6199DA7C-0CA0-4D66-B211-C7E7EAED8246}"/>
              </a:ext>
            </a:extLst>
          </p:cNvPr>
          <p:cNvSpPr txBox="1"/>
          <p:nvPr>
            <p:custDataLst>
              <p:tags r:id="rId5"/>
            </p:custDataLst>
          </p:nvPr>
        </p:nvSpPr>
        <p:spPr bwMode="auto">
          <a:xfrm>
            <a:off x="3262533" y="4875929"/>
            <a:ext cx="432000" cy="216000"/>
          </a:xfrm>
          <a:prstGeom prst="rect">
            <a:avLst/>
          </a:prstGeom>
          <a:noFill/>
          <a:ln w="9525">
            <a:noFill/>
            <a:miter lim="800000"/>
            <a:headEnd/>
            <a:tailEnd/>
          </a:ln>
          <a:effectLst/>
        </p:spPr>
        <p:txBody>
          <a:bodyPr wrap="none" lIns="0" tIns="0" rIns="0" bIns="0" rtlCol="0" anchor="ctr" anchorCtr="0">
            <a:noAutofit/>
          </a:bodyPr>
          <a:lstStyle/>
          <a:p>
            <a:pPr marL="0" marR="0" indent="0" algn="ctr"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900" kern="0" baseline="0" noProof="0">
                <a:solidFill>
                  <a:srgbClr val="928285"/>
                </a:solidFill>
                <a:latin typeface="+mn-lt"/>
                <a:ea typeface="+mn-ea"/>
                <a:cs typeface="+mn-cs"/>
              </a:rPr>
              <a:t>- DRAFT -</a:t>
            </a:r>
          </a:p>
        </p:txBody>
      </p:sp>
      <p:grpSp>
        <p:nvGrpSpPr>
          <p:cNvPr id="12" name="Logo">
            <a:extLst>
              <a:ext uri="{FF2B5EF4-FFF2-40B4-BE49-F238E27FC236}">
                <a16:creationId xmlns:a16="http://schemas.microsoft.com/office/drawing/2014/main" id="{ADDB2795-DB3B-40A3-B89C-858C63FC06F1}"/>
              </a:ext>
            </a:extLst>
          </p:cNvPr>
          <p:cNvGrpSpPr/>
          <p:nvPr/>
        </p:nvGrpSpPr>
        <p:grpSpPr>
          <a:xfrm>
            <a:off x="7303767" y="4089967"/>
            <a:ext cx="1372690" cy="600323"/>
            <a:chOff x="9738355" y="5453288"/>
            <a:chExt cx="1830253" cy="800431"/>
          </a:xfrm>
        </p:grpSpPr>
        <p:sp>
          <p:nvSpPr>
            <p:cNvPr id="13" name="Freeform: Shape 12">
              <a:extLst>
                <a:ext uri="{FF2B5EF4-FFF2-40B4-BE49-F238E27FC236}">
                  <a16:creationId xmlns:a16="http://schemas.microsoft.com/office/drawing/2014/main" id="{B0E8F659-6D17-4A54-BF14-8E3536EAD1C1}"/>
                </a:ext>
              </a:extLst>
            </p:cNvPr>
            <p:cNvSpPr/>
            <p:nvPr/>
          </p:nvSpPr>
          <p:spPr>
            <a:xfrm>
              <a:off x="9979381" y="5528812"/>
              <a:ext cx="1412001" cy="463475"/>
            </a:xfrm>
            <a:custGeom>
              <a:avLst/>
              <a:gdLst>
                <a:gd name="connsiteX0" fmla="*/ 1120063 w 1412001"/>
                <a:gd name="connsiteY0" fmla="*/ 463475 h 463475"/>
                <a:gd name="connsiteX1" fmla="*/ 1209643 w 1412001"/>
                <a:gd name="connsiteY1" fmla="*/ 324691 h 463475"/>
                <a:gd name="connsiteX2" fmla="*/ 1120063 w 1412001"/>
                <a:gd name="connsiteY2" fmla="*/ 189134 h 463475"/>
                <a:gd name="connsiteX3" fmla="*/ 1031773 w 1412001"/>
                <a:gd name="connsiteY3" fmla="*/ 325982 h 463475"/>
                <a:gd name="connsiteX4" fmla="*/ 1120063 w 1412001"/>
                <a:gd name="connsiteY4" fmla="*/ 463475 h 463475"/>
                <a:gd name="connsiteX5" fmla="*/ 1086552 w 1412001"/>
                <a:gd name="connsiteY5" fmla="*/ 324045 h 463475"/>
                <a:gd name="connsiteX6" fmla="*/ 1120063 w 1412001"/>
                <a:gd name="connsiteY6" fmla="*/ 235611 h 463475"/>
                <a:gd name="connsiteX7" fmla="*/ 1154864 w 1412001"/>
                <a:gd name="connsiteY7" fmla="*/ 325336 h 463475"/>
                <a:gd name="connsiteX8" fmla="*/ 1121352 w 1412001"/>
                <a:gd name="connsiteY8" fmla="*/ 418290 h 463475"/>
                <a:gd name="connsiteX9" fmla="*/ 1086552 w 1412001"/>
                <a:gd name="connsiteY9" fmla="*/ 324045 h 463475"/>
                <a:gd name="connsiteX10" fmla="*/ 921571 w 1412001"/>
                <a:gd name="connsiteY10" fmla="*/ 463475 h 463475"/>
                <a:gd name="connsiteX11" fmla="*/ 995683 w 1412001"/>
                <a:gd name="connsiteY11" fmla="*/ 428618 h 463475"/>
                <a:gd name="connsiteX12" fmla="*/ 975705 w 1412001"/>
                <a:gd name="connsiteY12" fmla="*/ 391178 h 463475"/>
                <a:gd name="connsiteX13" fmla="*/ 926082 w 1412001"/>
                <a:gd name="connsiteY13" fmla="*/ 416999 h 463475"/>
                <a:gd name="connsiteX14" fmla="*/ 889993 w 1412001"/>
                <a:gd name="connsiteY14" fmla="*/ 392469 h 463475"/>
                <a:gd name="connsiteX15" fmla="*/ 882259 w 1412001"/>
                <a:gd name="connsiteY15" fmla="*/ 346638 h 463475"/>
                <a:gd name="connsiteX16" fmla="*/ 882259 w 1412001"/>
                <a:gd name="connsiteY16" fmla="*/ 341474 h 463475"/>
                <a:gd name="connsiteX17" fmla="*/ 998261 w 1412001"/>
                <a:gd name="connsiteY17" fmla="*/ 341474 h 463475"/>
                <a:gd name="connsiteX18" fmla="*/ 998261 w 1412001"/>
                <a:gd name="connsiteY18" fmla="*/ 329855 h 463475"/>
                <a:gd name="connsiteX19" fmla="*/ 973127 w 1412001"/>
                <a:gd name="connsiteY19" fmla="*/ 216891 h 463475"/>
                <a:gd name="connsiteX20" fmla="*/ 915126 w 1412001"/>
                <a:gd name="connsiteY20" fmla="*/ 189134 h 463475"/>
                <a:gd name="connsiteX21" fmla="*/ 852614 w 1412001"/>
                <a:gd name="connsiteY21" fmla="*/ 223346 h 463475"/>
                <a:gd name="connsiteX22" fmla="*/ 828770 w 1412001"/>
                <a:gd name="connsiteY22" fmla="*/ 325982 h 463475"/>
                <a:gd name="connsiteX23" fmla="*/ 921571 w 1412001"/>
                <a:gd name="connsiteY23" fmla="*/ 463475 h 463475"/>
                <a:gd name="connsiteX24" fmla="*/ 915771 w 1412001"/>
                <a:gd name="connsiteY24" fmla="*/ 231738 h 463475"/>
                <a:gd name="connsiteX25" fmla="*/ 941549 w 1412001"/>
                <a:gd name="connsiteY25" fmla="*/ 250457 h 463475"/>
                <a:gd name="connsiteX26" fmla="*/ 947349 w 1412001"/>
                <a:gd name="connsiteY26" fmla="*/ 298871 h 463475"/>
                <a:gd name="connsiteX27" fmla="*/ 882259 w 1412001"/>
                <a:gd name="connsiteY27" fmla="*/ 298871 h 463475"/>
                <a:gd name="connsiteX28" fmla="*/ 915771 w 1412001"/>
                <a:gd name="connsiteY28" fmla="*/ 231738 h 463475"/>
                <a:gd name="connsiteX29" fmla="*/ 1252177 w 1412001"/>
                <a:gd name="connsiteY29" fmla="*/ 457020 h 463475"/>
                <a:gd name="connsiteX30" fmla="*/ 1302444 w 1412001"/>
                <a:gd name="connsiteY30" fmla="*/ 457020 h 463475"/>
                <a:gd name="connsiteX31" fmla="*/ 1302444 w 1412001"/>
                <a:gd name="connsiteY31" fmla="*/ 263368 h 463475"/>
                <a:gd name="connsiteX32" fmla="*/ 1339178 w 1412001"/>
                <a:gd name="connsiteY32" fmla="*/ 240129 h 463475"/>
                <a:gd name="connsiteX33" fmla="*/ 1355934 w 1412001"/>
                <a:gd name="connsiteY33" fmla="*/ 246584 h 463475"/>
                <a:gd name="connsiteX34" fmla="*/ 1361734 w 1412001"/>
                <a:gd name="connsiteY34" fmla="*/ 280796 h 463475"/>
                <a:gd name="connsiteX35" fmla="*/ 1361734 w 1412001"/>
                <a:gd name="connsiteY35" fmla="*/ 457020 h 463475"/>
                <a:gd name="connsiteX36" fmla="*/ 1412002 w 1412001"/>
                <a:gd name="connsiteY36" fmla="*/ 457020 h 463475"/>
                <a:gd name="connsiteX37" fmla="*/ 1412002 w 1412001"/>
                <a:gd name="connsiteY37" fmla="*/ 257558 h 463475"/>
                <a:gd name="connsiteX38" fmla="*/ 1399757 w 1412001"/>
                <a:gd name="connsiteY38" fmla="*/ 209790 h 463475"/>
                <a:gd name="connsiteX39" fmla="*/ 1358512 w 1412001"/>
                <a:gd name="connsiteY39" fmla="*/ 191071 h 463475"/>
                <a:gd name="connsiteX40" fmla="*/ 1298577 w 1412001"/>
                <a:gd name="connsiteY40" fmla="*/ 220119 h 463475"/>
                <a:gd name="connsiteX41" fmla="*/ 1292133 w 1412001"/>
                <a:gd name="connsiteY41" fmla="*/ 189134 h 463475"/>
                <a:gd name="connsiteX42" fmla="*/ 1245088 w 1412001"/>
                <a:gd name="connsiteY42" fmla="*/ 201399 h 463475"/>
                <a:gd name="connsiteX43" fmla="*/ 1251532 w 1412001"/>
                <a:gd name="connsiteY43" fmla="*/ 264659 h 463475"/>
                <a:gd name="connsiteX44" fmla="*/ 1251532 w 1412001"/>
                <a:gd name="connsiteY44" fmla="*/ 457020 h 463475"/>
                <a:gd name="connsiteX45" fmla="*/ 668300 w 1412001"/>
                <a:gd name="connsiteY45" fmla="*/ 220119 h 463475"/>
                <a:gd name="connsiteX46" fmla="*/ 661856 w 1412001"/>
                <a:gd name="connsiteY46" fmla="*/ 189134 h 463475"/>
                <a:gd name="connsiteX47" fmla="*/ 614810 w 1412001"/>
                <a:gd name="connsiteY47" fmla="*/ 201399 h 463475"/>
                <a:gd name="connsiteX48" fmla="*/ 621255 w 1412001"/>
                <a:gd name="connsiteY48" fmla="*/ 264659 h 463475"/>
                <a:gd name="connsiteX49" fmla="*/ 621255 w 1412001"/>
                <a:gd name="connsiteY49" fmla="*/ 456375 h 463475"/>
                <a:gd name="connsiteX50" fmla="*/ 671522 w 1412001"/>
                <a:gd name="connsiteY50" fmla="*/ 456375 h 463475"/>
                <a:gd name="connsiteX51" fmla="*/ 671522 w 1412001"/>
                <a:gd name="connsiteY51" fmla="*/ 262722 h 463475"/>
                <a:gd name="connsiteX52" fmla="*/ 708256 w 1412001"/>
                <a:gd name="connsiteY52" fmla="*/ 239484 h 463475"/>
                <a:gd name="connsiteX53" fmla="*/ 725012 w 1412001"/>
                <a:gd name="connsiteY53" fmla="*/ 245939 h 463475"/>
                <a:gd name="connsiteX54" fmla="*/ 730812 w 1412001"/>
                <a:gd name="connsiteY54" fmla="*/ 280151 h 463475"/>
                <a:gd name="connsiteX55" fmla="*/ 730812 w 1412001"/>
                <a:gd name="connsiteY55" fmla="*/ 456375 h 463475"/>
                <a:gd name="connsiteX56" fmla="*/ 781080 w 1412001"/>
                <a:gd name="connsiteY56" fmla="*/ 456375 h 463475"/>
                <a:gd name="connsiteX57" fmla="*/ 781080 w 1412001"/>
                <a:gd name="connsiteY57" fmla="*/ 257558 h 463475"/>
                <a:gd name="connsiteX58" fmla="*/ 768835 w 1412001"/>
                <a:gd name="connsiteY58" fmla="*/ 209790 h 463475"/>
                <a:gd name="connsiteX59" fmla="*/ 727590 w 1412001"/>
                <a:gd name="connsiteY59" fmla="*/ 191071 h 463475"/>
                <a:gd name="connsiteX60" fmla="*/ 668300 w 1412001"/>
                <a:gd name="connsiteY60" fmla="*/ 220119 h 463475"/>
                <a:gd name="connsiteX61" fmla="*/ 53490 w 1412001"/>
                <a:gd name="connsiteY61" fmla="*/ 107154 h 463475"/>
                <a:gd name="connsiteX62" fmla="*/ 106980 w 1412001"/>
                <a:gd name="connsiteY62" fmla="*/ 53577 h 463475"/>
                <a:gd name="connsiteX63" fmla="*/ 53490 w 1412001"/>
                <a:gd name="connsiteY63" fmla="*/ 0 h 463475"/>
                <a:gd name="connsiteX64" fmla="*/ 0 w 1412001"/>
                <a:gd name="connsiteY64" fmla="*/ 53577 h 463475"/>
                <a:gd name="connsiteX65" fmla="*/ 53490 w 1412001"/>
                <a:gd name="connsiteY65" fmla="*/ 107154 h 463475"/>
                <a:gd name="connsiteX66" fmla="*/ 300316 w 1412001"/>
                <a:gd name="connsiteY66" fmla="*/ 457020 h 463475"/>
                <a:gd name="connsiteX67" fmla="*/ 300316 w 1412001"/>
                <a:gd name="connsiteY67" fmla="*/ 257558 h 463475"/>
                <a:gd name="connsiteX68" fmla="*/ 288072 w 1412001"/>
                <a:gd name="connsiteY68" fmla="*/ 209790 h 463475"/>
                <a:gd name="connsiteX69" fmla="*/ 246826 w 1412001"/>
                <a:gd name="connsiteY69" fmla="*/ 191071 h 463475"/>
                <a:gd name="connsiteX70" fmla="*/ 186892 w 1412001"/>
                <a:gd name="connsiteY70" fmla="*/ 220119 h 463475"/>
                <a:gd name="connsiteX71" fmla="*/ 180447 w 1412001"/>
                <a:gd name="connsiteY71" fmla="*/ 189134 h 463475"/>
                <a:gd name="connsiteX72" fmla="*/ 134047 w 1412001"/>
                <a:gd name="connsiteY72" fmla="*/ 202044 h 463475"/>
                <a:gd name="connsiteX73" fmla="*/ 140491 w 1412001"/>
                <a:gd name="connsiteY73" fmla="*/ 265304 h 463475"/>
                <a:gd name="connsiteX74" fmla="*/ 140491 w 1412001"/>
                <a:gd name="connsiteY74" fmla="*/ 457020 h 463475"/>
                <a:gd name="connsiteX75" fmla="*/ 190759 w 1412001"/>
                <a:gd name="connsiteY75" fmla="*/ 457020 h 463475"/>
                <a:gd name="connsiteX76" fmla="*/ 190759 w 1412001"/>
                <a:gd name="connsiteY76" fmla="*/ 263368 h 463475"/>
                <a:gd name="connsiteX77" fmla="*/ 227493 w 1412001"/>
                <a:gd name="connsiteY77" fmla="*/ 240129 h 463475"/>
                <a:gd name="connsiteX78" fmla="*/ 244249 w 1412001"/>
                <a:gd name="connsiteY78" fmla="*/ 246584 h 463475"/>
                <a:gd name="connsiteX79" fmla="*/ 250049 w 1412001"/>
                <a:gd name="connsiteY79" fmla="*/ 280796 h 463475"/>
                <a:gd name="connsiteX80" fmla="*/ 250049 w 1412001"/>
                <a:gd name="connsiteY80" fmla="*/ 457020 h 463475"/>
                <a:gd name="connsiteX81" fmla="*/ 300316 w 1412001"/>
                <a:gd name="connsiteY81" fmla="*/ 457020 h 463475"/>
                <a:gd name="connsiteX82" fmla="*/ 531676 w 1412001"/>
                <a:gd name="connsiteY82" fmla="*/ 92953 h 463475"/>
                <a:gd name="connsiteX83" fmla="*/ 498164 w 1412001"/>
                <a:gd name="connsiteY83" fmla="*/ 126520 h 463475"/>
                <a:gd name="connsiteX84" fmla="*/ 531031 w 1412001"/>
                <a:gd name="connsiteY84" fmla="*/ 160086 h 463475"/>
                <a:gd name="connsiteX85" fmla="*/ 564543 w 1412001"/>
                <a:gd name="connsiteY85" fmla="*/ 126520 h 463475"/>
                <a:gd name="connsiteX86" fmla="*/ 531676 w 1412001"/>
                <a:gd name="connsiteY86" fmla="*/ 92953 h 463475"/>
                <a:gd name="connsiteX87" fmla="*/ 29645 w 1412001"/>
                <a:gd name="connsiteY87" fmla="*/ 457020 h 463475"/>
                <a:gd name="connsiteX88" fmla="*/ 79912 w 1412001"/>
                <a:gd name="connsiteY88" fmla="*/ 457020 h 463475"/>
                <a:gd name="connsiteX89" fmla="*/ 79912 w 1412001"/>
                <a:gd name="connsiteY89" fmla="*/ 142657 h 463475"/>
                <a:gd name="connsiteX90" fmla="*/ 29645 w 1412001"/>
                <a:gd name="connsiteY90" fmla="*/ 149113 h 463475"/>
                <a:gd name="connsiteX91" fmla="*/ 29645 w 1412001"/>
                <a:gd name="connsiteY91" fmla="*/ 457020 h 463475"/>
                <a:gd name="connsiteX92" fmla="*/ 440163 w 1412001"/>
                <a:gd name="connsiteY92" fmla="*/ 123938 h 463475"/>
                <a:gd name="connsiteX93" fmla="*/ 464008 w 1412001"/>
                <a:gd name="connsiteY93" fmla="*/ 131684 h 463475"/>
                <a:gd name="connsiteX94" fmla="*/ 478186 w 1412001"/>
                <a:gd name="connsiteY94" fmla="*/ 92308 h 463475"/>
                <a:gd name="connsiteX95" fmla="*/ 431141 w 1412001"/>
                <a:gd name="connsiteY95" fmla="*/ 78107 h 463475"/>
                <a:gd name="connsiteX96" fmla="*/ 392473 w 1412001"/>
                <a:gd name="connsiteY96" fmla="*/ 91017 h 463475"/>
                <a:gd name="connsiteX97" fmla="*/ 367340 w 1412001"/>
                <a:gd name="connsiteY97" fmla="*/ 160732 h 463475"/>
                <a:gd name="connsiteX98" fmla="*/ 367984 w 1412001"/>
                <a:gd name="connsiteY98" fmla="*/ 194944 h 463475"/>
                <a:gd name="connsiteX99" fmla="*/ 350584 w 1412001"/>
                <a:gd name="connsiteY99" fmla="*/ 194944 h 463475"/>
                <a:gd name="connsiteX100" fmla="*/ 350584 w 1412001"/>
                <a:gd name="connsiteY100" fmla="*/ 239484 h 463475"/>
                <a:gd name="connsiteX101" fmla="*/ 367984 w 1412001"/>
                <a:gd name="connsiteY101" fmla="*/ 239484 h 463475"/>
                <a:gd name="connsiteX102" fmla="*/ 367984 w 1412001"/>
                <a:gd name="connsiteY102" fmla="*/ 456375 h 463475"/>
                <a:gd name="connsiteX103" fmla="*/ 419540 w 1412001"/>
                <a:gd name="connsiteY103" fmla="*/ 456375 h 463475"/>
                <a:gd name="connsiteX104" fmla="*/ 419540 w 1412001"/>
                <a:gd name="connsiteY104" fmla="*/ 240129 h 463475"/>
                <a:gd name="connsiteX105" fmla="*/ 457563 w 1412001"/>
                <a:gd name="connsiteY105" fmla="*/ 240129 h 463475"/>
                <a:gd name="connsiteX106" fmla="*/ 467230 w 1412001"/>
                <a:gd name="connsiteY106" fmla="*/ 195589 h 463475"/>
                <a:gd name="connsiteX107" fmla="*/ 420185 w 1412001"/>
                <a:gd name="connsiteY107" fmla="*/ 195589 h 463475"/>
                <a:gd name="connsiteX108" fmla="*/ 420185 w 1412001"/>
                <a:gd name="connsiteY108" fmla="*/ 155568 h 463475"/>
                <a:gd name="connsiteX109" fmla="*/ 440163 w 1412001"/>
                <a:gd name="connsiteY109" fmla="*/ 123938 h 463475"/>
                <a:gd name="connsiteX110" fmla="*/ 505897 w 1412001"/>
                <a:gd name="connsiteY110" fmla="*/ 457020 h 463475"/>
                <a:gd name="connsiteX111" fmla="*/ 556809 w 1412001"/>
                <a:gd name="connsiteY111" fmla="*/ 457020 h 463475"/>
                <a:gd name="connsiteX112" fmla="*/ 556809 w 1412001"/>
                <a:gd name="connsiteY112" fmla="*/ 191071 h 463475"/>
                <a:gd name="connsiteX113" fmla="*/ 505897 w 1412001"/>
                <a:gd name="connsiteY113" fmla="*/ 197526 h 463475"/>
                <a:gd name="connsiteX114" fmla="*/ 505897 w 1412001"/>
                <a:gd name="connsiteY114" fmla="*/ 457020 h 46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1412001" h="463475">
                  <a:moveTo>
                    <a:pt x="1120063" y="463475"/>
                  </a:moveTo>
                  <a:cubicBezTo>
                    <a:pt x="1188376" y="463475"/>
                    <a:pt x="1209643" y="391178"/>
                    <a:pt x="1209643" y="324691"/>
                  </a:cubicBezTo>
                  <a:cubicBezTo>
                    <a:pt x="1209643" y="235611"/>
                    <a:pt x="1172264" y="189134"/>
                    <a:pt x="1120063" y="189134"/>
                  </a:cubicBezTo>
                  <a:cubicBezTo>
                    <a:pt x="1054329" y="189134"/>
                    <a:pt x="1031128" y="261431"/>
                    <a:pt x="1031773" y="325982"/>
                  </a:cubicBezTo>
                  <a:cubicBezTo>
                    <a:pt x="1032417" y="389887"/>
                    <a:pt x="1050462" y="463475"/>
                    <a:pt x="1120063" y="463475"/>
                  </a:cubicBezTo>
                  <a:close/>
                  <a:moveTo>
                    <a:pt x="1086552" y="324045"/>
                  </a:moveTo>
                  <a:cubicBezTo>
                    <a:pt x="1086552" y="297580"/>
                    <a:pt x="1086552" y="235611"/>
                    <a:pt x="1120063" y="235611"/>
                  </a:cubicBezTo>
                  <a:cubicBezTo>
                    <a:pt x="1156153" y="235611"/>
                    <a:pt x="1154864" y="296934"/>
                    <a:pt x="1154864" y="325336"/>
                  </a:cubicBezTo>
                  <a:cubicBezTo>
                    <a:pt x="1154864" y="352448"/>
                    <a:pt x="1154864" y="418290"/>
                    <a:pt x="1121352" y="418290"/>
                  </a:cubicBezTo>
                  <a:cubicBezTo>
                    <a:pt x="1085263" y="417644"/>
                    <a:pt x="1086552" y="351802"/>
                    <a:pt x="1086552" y="324045"/>
                  </a:cubicBezTo>
                  <a:close/>
                  <a:moveTo>
                    <a:pt x="921571" y="463475"/>
                  </a:moveTo>
                  <a:cubicBezTo>
                    <a:pt x="949283" y="463475"/>
                    <a:pt x="973127" y="452502"/>
                    <a:pt x="995683" y="428618"/>
                  </a:cubicBezTo>
                  <a:lnTo>
                    <a:pt x="975705" y="391178"/>
                  </a:lnTo>
                  <a:cubicBezTo>
                    <a:pt x="960238" y="407962"/>
                    <a:pt x="944771" y="416999"/>
                    <a:pt x="926082" y="416999"/>
                  </a:cubicBezTo>
                  <a:cubicBezTo>
                    <a:pt x="910615" y="416999"/>
                    <a:pt x="897726" y="407962"/>
                    <a:pt x="889993" y="392469"/>
                  </a:cubicBezTo>
                  <a:cubicBezTo>
                    <a:pt x="883548" y="378914"/>
                    <a:pt x="882259" y="363422"/>
                    <a:pt x="882259" y="346638"/>
                  </a:cubicBezTo>
                  <a:lnTo>
                    <a:pt x="882259" y="341474"/>
                  </a:lnTo>
                  <a:lnTo>
                    <a:pt x="998261" y="341474"/>
                  </a:lnTo>
                  <a:lnTo>
                    <a:pt x="998261" y="329855"/>
                  </a:lnTo>
                  <a:cubicBezTo>
                    <a:pt x="998261" y="272405"/>
                    <a:pt x="991172" y="240775"/>
                    <a:pt x="973127" y="216891"/>
                  </a:cubicBezTo>
                  <a:cubicBezTo>
                    <a:pt x="959594" y="198817"/>
                    <a:pt x="939616" y="189134"/>
                    <a:pt x="915126" y="189134"/>
                  </a:cubicBezTo>
                  <a:cubicBezTo>
                    <a:pt x="889348" y="189134"/>
                    <a:pt x="868081" y="200753"/>
                    <a:pt x="852614" y="223346"/>
                  </a:cubicBezTo>
                  <a:cubicBezTo>
                    <a:pt x="835859" y="247875"/>
                    <a:pt x="828770" y="280796"/>
                    <a:pt x="828770" y="325982"/>
                  </a:cubicBezTo>
                  <a:cubicBezTo>
                    <a:pt x="828125" y="412480"/>
                    <a:pt x="862281" y="463475"/>
                    <a:pt x="921571" y="463475"/>
                  </a:cubicBezTo>
                  <a:close/>
                  <a:moveTo>
                    <a:pt x="915771" y="231738"/>
                  </a:moveTo>
                  <a:cubicBezTo>
                    <a:pt x="928660" y="231738"/>
                    <a:pt x="936394" y="238838"/>
                    <a:pt x="941549" y="250457"/>
                  </a:cubicBezTo>
                  <a:cubicBezTo>
                    <a:pt x="945416" y="260786"/>
                    <a:pt x="947349" y="278214"/>
                    <a:pt x="947349" y="298871"/>
                  </a:cubicBezTo>
                  <a:lnTo>
                    <a:pt x="882259" y="298871"/>
                  </a:lnTo>
                  <a:cubicBezTo>
                    <a:pt x="882904" y="253039"/>
                    <a:pt x="892571" y="231738"/>
                    <a:pt x="915771" y="231738"/>
                  </a:cubicBezTo>
                  <a:close/>
                  <a:moveTo>
                    <a:pt x="1252177" y="457020"/>
                  </a:moveTo>
                  <a:lnTo>
                    <a:pt x="1302444" y="457020"/>
                  </a:lnTo>
                  <a:lnTo>
                    <a:pt x="1302444" y="263368"/>
                  </a:lnTo>
                  <a:cubicBezTo>
                    <a:pt x="1314689" y="248521"/>
                    <a:pt x="1328867" y="240129"/>
                    <a:pt x="1339178" y="240129"/>
                  </a:cubicBezTo>
                  <a:cubicBezTo>
                    <a:pt x="1345623" y="240129"/>
                    <a:pt x="1352067" y="241420"/>
                    <a:pt x="1355934" y="246584"/>
                  </a:cubicBezTo>
                  <a:cubicBezTo>
                    <a:pt x="1359801" y="252394"/>
                    <a:pt x="1361734" y="260786"/>
                    <a:pt x="1361734" y="280796"/>
                  </a:cubicBezTo>
                  <a:lnTo>
                    <a:pt x="1361734" y="457020"/>
                  </a:lnTo>
                  <a:lnTo>
                    <a:pt x="1412002" y="457020"/>
                  </a:lnTo>
                  <a:lnTo>
                    <a:pt x="1412002" y="257558"/>
                  </a:lnTo>
                  <a:cubicBezTo>
                    <a:pt x="1412002" y="240129"/>
                    <a:pt x="1410068" y="222701"/>
                    <a:pt x="1399757" y="209790"/>
                  </a:cubicBezTo>
                  <a:cubicBezTo>
                    <a:pt x="1390735" y="198171"/>
                    <a:pt x="1376557" y="191071"/>
                    <a:pt x="1358512" y="191071"/>
                  </a:cubicBezTo>
                  <a:cubicBezTo>
                    <a:pt x="1335311" y="191071"/>
                    <a:pt x="1311467" y="204626"/>
                    <a:pt x="1298577" y="220119"/>
                  </a:cubicBezTo>
                  <a:cubicBezTo>
                    <a:pt x="1297933" y="206563"/>
                    <a:pt x="1293422" y="193653"/>
                    <a:pt x="1292133" y="189134"/>
                  </a:cubicBezTo>
                  <a:lnTo>
                    <a:pt x="1245088" y="201399"/>
                  </a:lnTo>
                  <a:cubicBezTo>
                    <a:pt x="1247665" y="215600"/>
                    <a:pt x="1251532" y="233029"/>
                    <a:pt x="1251532" y="264659"/>
                  </a:cubicBezTo>
                  <a:lnTo>
                    <a:pt x="1251532" y="457020"/>
                  </a:lnTo>
                  <a:close/>
                  <a:moveTo>
                    <a:pt x="668300" y="220119"/>
                  </a:moveTo>
                  <a:cubicBezTo>
                    <a:pt x="667656" y="206563"/>
                    <a:pt x="663145" y="193653"/>
                    <a:pt x="661856" y="189134"/>
                  </a:cubicBezTo>
                  <a:lnTo>
                    <a:pt x="614810" y="201399"/>
                  </a:lnTo>
                  <a:cubicBezTo>
                    <a:pt x="617388" y="215600"/>
                    <a:pt x="621255" y="233029"/>
                    <a:pt x="621255" y="264659"/>
                  </a:cubicBezTo>
                  <a:lnTo>
                    <a:pt x="621255" y="456375"/>
                  </a:lnTo>
                  <a:lnTo>
                    <a:pt x="671522" y="456375"/>
                  </a:lnTo>
                  <a:lnTo>
                    <a:pt x="671522" y="262722"/>
                  </a:lnTo>
                  <a:cubicBezTo>
                    <a:pt x="683767" y="247875"/>
                    <a:pt x="697945" y="239484"/>
                    <a:pt x="708256" y="239484"/>
                  </a:cubicBezTo>
                  <a:cubicBezTo>
                    <a:pt x="714701" y="239484"/>
                    <a:pt x="721146" y="240775"/>
                    <a:pt x="725012" y="245939"/>
                  </a:cubicBezTo>
                  <a:cubicBezTo>
                    <a:pt x="728879" y="251748"/>
                    <a:pt x="730812" y="260140"/>
                    <a:pt x="730812" y="280151"/>
                  </a:cubicBezTo>
                  <a:lnTo>
                    <a:pt x="730812" y="456375"/>
                  </a:lnTo>
                  <a:lnTo>
                    <a:pt x="781080" y="456375"/>
                  </a:lnTo>
                  <a:lnTo>
                    <a:pt x="781080" y="257558"/>
                  </a:lnTo>
                  <a:cubicBezTo>
                    <a:pt x="781080" y="240129"/>
                    <a:pt x="779146" y="222701"/>
                    <a:pt x="768835" y="209790"/>
                  </a:cubicBezTo>
                  <a:cubicBezTo>
                    <a:pt x="759813" y="198171"/>
                    <a:pt x="745635" y="191071"/>
                    <a:pt x="727590" y="191071"/>
                  </a:cubicBezTo>
                  <a:cubicBezTo>
                    <a:pt x="705034" y="191071"/>
                    <a:pt x="681189" y="204626"/>
                    <a:pt x="668300" y="220119"/>
                  </a:cubicBezTo>
                  <a:close/>
                  <a:moveTo>
                    <a:pt x="53490" y="107154"/>
                  </a:moveTo>
                  <a:cubicBezTo>
                    <a:pt x="83135" y="107154"/>
                    <a:pt x="106980" y="83271"/>
                    <a:pt x="106980" y="53577"/>
                  </a:cubicBezTo>
                  <a:cubicBezTo>
                    <a:pt x="106980" y="23884"/>
                    <a:pt x="83135" y="0"/>
                    <a:pt x="53490" y="0"/>
                  </a:cubicBezTo>
                  <a:cubicBezTo>
                    <a:pt x="23845" y="0"/>
                    <a:pt x="0" y="23884"/>
                    <a:pt x="0" y="53577"/>
                  </a:cubicBezTo>
                  <a:cubicBezTo>
                    <a:pt x="0" y="83271"/>
                    <a:pt x="23845" y="107154"/>
                    <a:pt x="53490" y="107154"/>
                  </a:cubicBezTo>
                  <a:close/>
                  <a:moveTo>
                    <a:pt x="300316" y="457020"/>
                  </a:moveTo>
                  <a:lnTo>
                    <a:pt x="300316" y="257558"/>
                  </a:lnTo>
                  <a:cubicBezTo>
                    <a:pt x="300316" y="240129"/>
                    <a:pt x="298383" y="222701"/>
                    <a:pt x="288072" y="209790"/>
                  </a:cubicBezTo>
                  <a:cubicBezTo>
                    <a:pt x="279049" y="198171"/>
                    <a:pt x="264871" y="191071"/>
                    <a:pt x="246826" y="191071"/>
                  </a:cubicBezTo>
                  <a:cubicBezTo>
                    <a:pt x="223626" y="191071"/>
                    <a:pt x="199781" y="204626"/>
                    <a:pt x="186892" y="220119"/>
                  </a:cubicBezTo>
                  <a:cubicBezTo>
                    <a:pt x="186248" y="206563"/>
                    <a:pt x="181736" y="193653"/>
                    <a:pt x="180447" y="189134"/>
                  </a:cubicBezTo>
                  <a:lnTo>
                    <a:pt x="134047" y="202044"/>
                  </a:lnTo>
                  <a:cubicBezTo>
                    <a:pt x="136625" y="216245"/>
                    <a:pt x="140491" y="233674"/>
                    <a:pt x="140491" y="265304"/>
                  </a:cubicBezTo>
                  <a:lnTo>
                    <a:pt x="140491" y="457020"/>
                  </a:lnTo>
                  <a:lnTo>
                    <a:pt x="190759" y="457020"/>
                  </a:lnTo>
                  <a:lnTo>
                    <a:pt x="190759" y="263368"/>
                  </a:lnTo>
                  <a:cubicBezTo>
                    <a:pt x="203003" y="248521"/>
                    <a:pt x="217181" y="240129"/>
                    <a:pt x="227493" y="240129"/>
                  </a:cubicBezTo>
                  <a:cubicBezTo>
                    <a:pt x="233937" y="240129"/>
                    <a:pt x="240382" y="241420"/>
                    <a:pt x="244249" y="246584"/>
                  </a:cubicBezTo>
                  <a:cubicBezTo>
                    <a:pt x="248115" y="252394"/>
                    <a:pt x="250049" y="260786"/>
                    <a:pt x="250049" y="280796"/>
                  </a:cubicBezTo>
                  <a:lnTo>
                    <a:pt x="250049" y="457020"/>
                  </a:lnTo>
                  <a:lnTo>
                    <a:pt x="300316" y="457020"/>
                  </a:lnTo>
                  <a:close/>
                  <a:moveTo>
                    <a:pt x="531676" y="92953"/>
                  </a:moveTo>
                  <a:cubicBezTo>
                    <a:pt x="512986" y="92953"/>
                    <a:pt x="498164" y="107800"/>
                    <a:pt x="498164" y="126520"/>
                  </a:cubicBezTo>
                  <a:cubicBezTo>
                    <a:pt x="498164" y="145240"/>
                    <a:pt x="512986" y="160086"/>
                    <a:pt x="531031" y="160086"/>
                  </a:cubicBezTo>
                  <a:cubicBezTo>
                    <a:pt x="549720" y="160086"/>
                    <a:pt x="564543" y="145240"/>
                    <a:pt x="564543" y="126520"/>
                  </a:cubicBezTo>
                  <a:cubicBezTo>
                    <a:pt x="564543" y="107800"/>
                    <a:pt x="549720" y="92953"/>
                    <a:pt x="531676" y="92953"/>
                  </a:cubicBezTo>
                  <a:close/>
                  <a:moveTo>
                    <a:pt x="29645" y="457020"/>
                  </a:moveTo>
                  <a:lnTo>
                    <a:pt x="79912" y="457020"/>
                  </a:lnTo>
                  <a:lnTo>
                    <a:pt x="79912" y="142657"/>
                  </a:lnTo>
                  <a:lnTo>
                    <a:pt x="29645" y="149113"/>
                  </a:lnTo>
                  <a:lnTo>
                    <a:pt x="29645" y="457020"/>
                  </a:lnTo>
                  <a:close/>
                  <a:moveTo>
                    <a:pt x="440163" y="123938"/>
                  </a:moveTo>
                  <a:cubicBezTo>
                    <a:pt x="449185" y="123938"/>
                    <a:pt x="458208" y="127165"/>
                    <a:pt x="464008" y="131684"/>
                  </a:cubicBezTo>
                  <a:lnTo>
                    <a:pt x="478186" y="92308"/>
                  </a:lnTo>
                  <a:cubicBezTo>
                    <a:pt x="464652" y="82625"/>
                    <a:pt x="449830" y="78107"/>
                    <a:pt x="431141" y="78107"/>
                  </a:cubicBezTo>
                  <a:cubicBezTo>
                    <a:pt x="418252" y="78107"/>
                    <a:pt x="404718" y="81334"/>
                    <a:pt x="392473" y="91017"/>
                  </a:cubicBezTo>
                  <a:cubicBezTo>
                    <a:pt x="380229" y="101345"/>
                    <a:pt x="367340" y="122001"/>
                    <a:pt x="367340" y="160732"/>
                  </a:cubicBezTo>
                  <a:cubicBezTo>
                    <a:pt x="367340" y="177515"/>
                    <a:pt x="367984" y="194944"/>
                    <a:pt x="367984" y="194944"/>
                  </a:cubicBezTo>
                  <a:lnTo>
                    <a:pt x="350584" y="194944"/>
                  </a:lnTo>
                  <a:lnTo>
                    <a:pt x="350584" y="239484"/>
                  </a:lnTo>
                  <a:lnTo>
                    <a:pt x="367984" y="239484"/>
                  </a:lnTo>
                  <a:lnTo>
                    <a:pt x="367984" y="456375"/>
                  </a:lnTo>
                  <a:lnTo>
                    <a:pt x="419540" y="456375"/>
                  </a:lnTo>
                  <a:lnTo>
                    <a:pt x="419540" y="240129"/>
                  </a:lnTo>
                  <a:lnTo>
                    <a:pt x="457563" y="240129"/>
                  </a:lnTo>
                  <a:lnTo>
                    <a:pt x="467230" y="195589"/>
                  </a:lnTo>
                  <a:lnTo>
                    <a:pt x="420185" y="195589"/>
                  </a:lnTo>
                  <a:lnTo>
                    <a:pt x="420185" y="155568"/>
                  </a:lnTo>
                  <a:cubicBezTo>
                    <a:pt x="420185" y="136202"/>
                    <a:pt x="427918" y="123938"/>
                    <a:pt x="440163" y="123938"/>
                  </a:cubicBezTo>
                  <a:close/>
                  <a:moveTo>
                    <a:pt x="505897" y="457020"/>
                  </a:moveTo>
                  <a:lnTo>
                    <a:pt x="556809" y="457020"/>
                  </a:lnTo>
                  <a:lnTo>
                    <a:pt x="556809" y="191071"/>
                  </a:lnTo>
                  <a:lnTo>
                    <a:pt x="505897" y="197526"/>
                  </a:lnTo>
                  <a:lnTo>
                    <a:pt x="505897" y="457020"/>
                  </a:lnTo>
                  <a:close/>
                </a:path>
              </a:pathLst>
            </a:custGeom>
            <a:solidFill>
              <a:srgbClr val="005DA9"/>
            </a:solidFill>
            <a:ln w="6439" cap="flat">
              <a:noFill/>
              <a:prstDash val="solid"/>
              <a:miter/>
            </a:ln>
          </p:spPr>
          <p:txBody>
            <a:bodyPr rtlCol="0" anchor="ctr"/>
            <a:lstStyle/>
            <a:p>
              <a:endParaRPr lang="en-US" sz="1800" baseline="0" noProof="0">
                <a:latin typeface="+mn-lt"/>
                <a:ea typeface="+mn-ea"/>
                <a:cs typeface="+mn-cs"/>
              </a:endParaRPr>
            </a:p>
          </p:txBody>
        </p:sp>
        <p:sp>
          <p:nvSpPr>
            <p:cNvPr id="14" name="Freeform: Shape 13">
              <a:extLst>
                <a:ext uri="{FF2B5EF4-FFF2-40B4-BE49-F238E27FC236}">
                  <a16:creationId xmlns:a16="http://schemas.microsoft.com/office/drawing/2014/main" id="{B383B5BA-723A-4405-A758-172E5648B93E}"/>
                </a:ext>
              </a:extLst>
            </p:cNvPr>
            <p:cNvSpPr/>
            <p:nvPr/>
          </p:nvSpPr>
          <p:spPr>
            <a:xfrm>
              <a:off x="9738355" y="5453433"/>
              <a:ext cx="1826386" cy="800518"/>
            </a:xfrm>
            <a:custGeom>
              <a:avLst/>
              <a:gdLst>
                <a:gd name="connsiteX0" fmla="*/ 1549915 w 1826386"/>
                <a:gd name="connsiteY0" fmla="*/ 674411 h 800518"/>
                <a:gd name="connsiteX1" fmla="*/ 970550 w 1826386"/>
                <a:gd name="connsiteY1" fmla="*/ 746708 h 800518"/>
                <a:gd name="connsiteX2" fmla="*/ 102468 w 1826386"/>
                <a:gd name="connsiteY2" fmla="*/ 396197 h 800518"/>
                <a:gd name="connsiteX3" fmla="*/ 250693 w 1826386"/>
                <a:gd name="connsiteY3" fmla="*/ 186406 h 800518"/>
                <a:gd name="connsiteX4" fmla="*/ 221693 w 1826386"/>
                <a:gd name="connsiteY4" fmla="*/ 129602 h 800518"/>
                <a:gd name="connsiteX5" fmla="*/ 0 w 1826386"/>
                <a:gd name="connsiteY5" fmla="*/ 402006 h 800518"/>
                <a:gd name="connsiteX6" fmla="*/ 975705 w 1826386"/>
                <a:gd name="connsiteY6" fmla="*/ 800285 h 800518"/>
                <a:gd name="connsiteX7" fmla="*/ 1501581 w 1826386"/>
                <a:gd name="connsiteY7" fmla="*/ 718306 h 800518"/>
                <a:gd name="connsiteX8" fmla="*/ 1826386 w 1826386"/>
                <a:gd name="connsiteY8" fmla="*/ 536272 h 800518"/>
                <a:gd name="connsiteX9" fmla="*/ 1549915 w 1826386"/>
                <a:gd name="connsiteY9" fmla="*/ 674411 h 800518"/>
                <a:gd name="connsiteX10" fmla="*/ 467875 w 1826386"/>
                <a:gd name="connsiteY10" fmla="*/ 88289 h 800518"/>
                <a:gd name="connsiteX11" fmla="*/ 550365 w 1826386"/>
                <a:gd name="connsiteY11" fmla="*/ 61823 h 800518"/>
                <a:gd name="connsiteX12" fmla="*/ 976350 w 1826386"/>
                <a:gd name="connsiteY12" fmla="*/ 3727 h 800518"/>
                <a:gd name="connsiteX13" fmla="*/ 540054 w 1826386"/>
                <a:gd name="connsiteY13" fmla="*/ 26966 h 800518"/>
                <a:gd name="connsiteX14" fmla="*/ 451763 w 1826386"/>
                <a:gd name="connsiteY14" fmla="*/ 45685 h 800518"/>
                <a:gd name="connsiteX15" fmla="*/ 416318 w 1826386"/>
                <a:gd name="connsiteY15" fmla="*/ 55368 h 800518"/>
                <a:gd name="connsiteX16" fmla="*/ 384095 w 1826386"/>
                <a:gd name="connsiteY16" fmla="*/ 64405 h 800518"/>
                <a:gd name="connsiteX17" fmla="*/ 345428 w 1826386"/>
                <a:gd name="connsiteY17" fmla="*/ 77315 h 800518"/>
                <a:gd name="connsiteX18" fmla="*/ 366695 w 1826386"/>
                <a:gd name="connsiteY18" fmla="*/ 126374 h 800518"/>
                <a:gd name="connsiteX19" fmla="*/ 467875 w 1826386"/>
                <a:gd name="connsiteY19" fmla="*/ 88289 h 800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26386" h="800518">
                  <a:moveTo>
                    <a:pt x="1549915" y="674411"/>
                  </a:moveTo>
                  <a:cubicBezTo>
                    <a:pt x="1379779" y="724761"/>
                    <a:pt x="1172909" y="746708"/>
                    <a:pt x="970550" y="746708"/>
                  </a:cubicBezTo>
                  <a:cubicBezTo>
                    <a:pt x="456919" y="746708"/>
                    <a:pt x="125669" y="595659"/>
                    <a:pt x="102468" y="396197"/>
                  </a:cubicBezTo>
                  <a:cubicBezTo>
                    <a:pt x="94090" y="321318"/>
                    <a:pt x="152736" y="248375"/>
                    <a:pt x="250693" y="186406"/>
                  </a:cubicBezTo>
                  <a:cubicBezTo>
                    <a:pt x="233293" y="173496"/>
                    <a:pt x="222337" y="152840"/>
                    <a:pt x="221693" y="129602"/>
                  </a:cubicBezTo>
                  <a:cubicBezTo>
                    <a:pt x="79912" y="204481"/>
                    <a:pt x="0" y="302598"/>
                    <a:pt x="0" y="402006"/>
                  </a:cubicBezTo>
                  <a:cubicBezTo>
                    <a:pt x="0" y="622125"/>
                    <a:pt x="392473" y="808031"/>
                    <a:pt x="975705" y="800285"/>
                  </a:cubicBezTo>
                  <a:cubicBezTo>
                    <a:pt x="1178709" y="797703"/>
                    <a:pt x="1348200" y="768655"/>
                    <a:pt x="1501581" y="718306"/>
                  </a:cubicBezTo>
                  <a:cubicBezTo>
                    <a:pt x="1683962" y="658919"/>
                    <a:pt x="1798675" y="573712"/>
                    <a:pt x="1826386" y="536272"/>
                  </a:cubicBezTo>
                  <a:cubicBezTo>
                    <a:pt x="1793519" y="565966"/>
                    <a:pt x="1715540" y="625352"/>
                    <a:pt x="1549915" y="674411"/>
                  </a:cubicBezTo>
                  <a:close/>
                  <a:moveTo>
                    <a:pt x="467875" y="88289"/>
                  </a:moveTo>
                  <a:cubicBezTo>
                    <a:pt x="502031" y="76670"/>
                    <a:pt x="550365" y="61823"/>
                    <a:pt x="550365" y="61823"/>
                  </a:cubicBezTo>
                  <a:cubicBezTo>
                    <a:pt x="686345" y="24384"/>
                    <a:pt x="836503" y="2436"/>
                    <a:pt x="976350" y="3727"/>
                  </a:cubicBezTo>
                  <a:cubicBezTo>
                    <a:pt x="815236" y="-5955"/>
                    <a:pt x="668300" y="3727"/>
                    <a:pt x="540054" y="26966"/>
                  </a:cubicBezTo>
                  <a:cubicBezTo>
                    <a:pt x="540054" y="26966"/>
                    <a:pt x="497519" y="34066"/>
                    <a:pt x="451763" y="45685"/>
                  </a:cubicBezTo>
                  <a:cubicBezTo>
                    <a:pt x="451763" y="45685"/>
                    <a:pt x="429852" y="51495"/>
                    <a:pt x="416318" y="55368"/>
                  </a:cubicBezTo>
                  <a:cubicBezTo>
                    <a:pt x="402785" y="59241"/>
                    <a:pt x="384095" y="64405"/>
                    <a:pt x="384095" y="64405"/>
                  </a:cubicBezTo>
                  <a:cubicBezTo>
                    <a:pt x="371206" y="68278"/>
                    <a:pt x="358317" y="72797"/>
                    <a:pt x="345428" y="77315"/>
                  </a:cubicBezTo>
                  <a:cubicBezTo>
                    <a:pt x="358317" y="90225"/>
                    <a:pt x="366051" y="107009"/>
                    <a:pt x="366695" y="126374"/>
                  </a:cubicBezTo>
                  <a:cubicBezTo>
                    <a:pt x="389251" y="116046"/>
                    <a:pt x="432429" y="100554"/>
                    <a:pt x="467875" y="88289"/>
                  </a:cubicBezTo>
                  <a:close/>
                </a:path>
              </a:pathLst>
            </a:custGeom>
            <a:solidFill>
              <a:srgbClr val="E30034"/>
            </a:solidFill>
            <a:ln w="6439" cap="flat">
              <a:noFill/>
              <a:prstDash val="solid"/>
              <a:miter/>
            </a:ln>
          </p:spPr>
          <p:txBody>
            <a:bodyPr rtlCol="0" anchor="ctr"/>
            <a:lstStyle/>
            <a:p>
              <a:endParaRPr lang="en-US" sz="1800" baseline="0" noProof="0">
                <a:latin typeface="+mn-lt"/>
                <a:ea typeface="+mn-ea"/>
                <a:cs typeface="+mn-cs"/>
              </a:endParaRPr>
            </a:p>
          </p:txBody>
        </p:sp>
      </p:grpSp>
      <p:sp>
        <p:nvSpPr>
          <p:cNvPr id="6" name="MIO_AGENDA_IGNORE_NAVIGATION" hidden="1">
            <a:extLst>
              <a:ext uri="{FF2B5EF4-FFF2-40B4-BE49-F238E27FC236}">
                <a16:creationId xmlns:a16="http://schemas.microsoft.com/office/drawing/2014/main" id="{77B7EDDE-B2BF-41DF-B12E-29C55B064D28}"/>
              </a:ext>
            </a:extLst>
          </p:cNvPr>
          <p:cNvSpPr/>
          <p:nvPr/>
        </p:nvSpPr>
        <p:spPr bwMode="auto">
          <a:xfrm>
            <a:off x="8874822" y="87474"/>
            <a:ext cx="162018" cy="162018"/>
          </a:xfrm>
          <a:prstGeom prst="noSmoking">
            <a:avLst/>
          </a:prstGeom>
          <a:solidFill>
            <a:schemeClr val="accent4"/>
          </a:solidFill>
          <a:ln w="9525">
            <a:noFill/>
            <a:miter lim="800000"/>
            <a:headEnd/>
            <a:tailEnd/>
          </a:ln>
        </p:spPr>
        <p:txBody>
          <a:bodyPr wrap="square" lIns="54000" tIns="54000" rIns="54000" bIns="54000" rtlCol="0" anchor="ctr"/>
          <a:lstStyle/>
          <a:p>
            <a:pPr algn="ctr" eaLnBrk="0" hangingPunct="0"/>
            <a:endParaRPr lang="en-US" sz="1200" baseline="0" noProof="0">
              <a:latin typeface="+mn-lt"/>
              <a:ea typeface="+mn-ea"/>
              <a:cs typeface="+mn-cs"/>
            </a:endParaRPr>
          </a:p>
        </p:txBody>
      </p:sp>
      <p:sp>
        <p:nvSpPr>
          <p:cNvPr id="16" name="MIO_AGENDA_IGNORE_CHAPTER_REFERENCE" hidden="1">
            <a:extLst>
              <a:ext uri="{FF2B5EF4-FFF2-40B4-BE49-F238E27FC236}">
                <a16:creationId xmlns:a16="http://schemas.microsoft.com/office/drawing/2014/main" id="{77CD087C-DFE1-43D5-AF8C-29BB0B90F672}"/>
              </a:ext>
            </a:extLst>
          </p:cNvPr>
          <p:cNvSpPr/>
          <p:nvPr/>
        </p:nvSpPr>
        <p:spPr bwMode="auto">
          <a:xfrm>
            <a:off x="8874822" y="87474"/>
            <a:ext cx="162018" cy="162018"/>
          </a:xfrm>
          <a:prstGeom prst="noSmoking">
            <a:avLst/>
          </a:prstGeom>
          <a:solidFill>
            <a:schemeClr val="accent4"/>
          </a:solidFill>
          <a:ln w="9525">
            <a:noFill/>
            <a:miter lim="800000"/>
            <a:headEnd/>
            <a:tailEnd/>
          </a:ln>
        </p:spPr>
        <p:txBody>
          <a:bodyPr wrap="square" lIns="54000" tIns="54000" rIns="54000" bIns="54000" rtlCol="0" anchor="ctr"/>
          <a:lstStyle/>
          <a:p>
            <a:pPr algn="ctr" eaLnBrk="0" hangingPunct="0"/>
            <a:endParaRPr lang="en-US" sz="1200" baseline="0" noProof="0">
              <a:latin typeface="+mn-lt"/>
              <a:ea typeface="+mn-ea"/>
              <a:cs typeface="+mn-cs"/>
            </a:endParaRPr>
          </a:p>
        </p:txBody>
      </p:sp>
      <p:sp>
        <p:nvSpPr>
          <p:cNvPr id="11" name="Date Placeholder 10">
            <a:extLst>
              <a:ext uri="{FF2B5EF4-FFF2-40B4-BE49-F238E27FC236}">
                <a16:creationId xmlns:a16="http://schemas.microsoft.com/office/drawing/2014/main" id="{8A2B950C-C584-4156-BAA9-284D4A5BB0F4}"/>
              </a:ext>
            </a:extLst>
          </p:cNvPr>
          <p:cNvSpPr>
            <a:spLocks noGrp="1"/>
          </p:cNvSpPr>
          <p:nvPr>
            <p:ph type="dt" sz="half" idx="19"/>
          </p:nvPr>
        </p:nvSpPr>
        <p:spPr/>
        <p:txBody>
          <a:bodyPr/>
          <a:lstStyle/>
          <a:p>
            <a:endParaRPr lang="en-US" b="1" dirty="0"/>
          </a:p>
        </p:txBody>
      </p:sp>
      <p:sp>
        <p:nvSpPr>
          <p:cNvPr id="17" name="Footer Placeholder 16">
            <a:extLst>
              <a:ext uri="{FF2B5EF4-FFF2-40B4-BE49-F238E27FC236}">
                <a16:creationId xmlns:a16="http://schemas.microsoft.com/office/drawing/2014/main" id="{05BA39DF-1C65-465A-9ECA-C35A3F0705E9}"/>
              </a:ext>
            </a:extLst>
          </p:cNvPr>
          <p:cNvSpPr>
            <a:spLocks noGrp="1"/>
          </p:cNvSpPr>
          <p:nvPr>
            <p:ph type="ftr" sz="quarter" idx="20"/>
          </p:nvPr>
        </p:nvSpPr>
        <p:spPr/>
        <p:txBody>
          <a:bodyPr/>
          <a:lstStyle/>
          <a:p>
            <a:endParaRPr lang="en-US" dirty="0"/>
          </a:p>
        </p:txBody>
      </p:sp>
      <p:sp>
        <p:nvSpPr>
          <p:cNvPr id="18" name="Slide Number Placeholder 17" hidden="1">
            <a:extLst>
              <a:ext uri="{FF2B5EF4-FFF2-40B4-BE49-F238E27FC236}">
                <a16:creationId xmlns:a16="http://schemas.microsoft.com/office/drawing/2014/main" id="{237973C6-0D90-4AEE-BB6E-AE4A8B5BA26B}"/>
              </a:ext>
            </a:extLst>
          </p:cNvPr>
          <p:cNvSpPr>
            <a:spLocks noGrp="1"/>
          </p:cNvSpPr>
          <p:nvPr>
            <p:ph type="sldNum" sz="quarter" idx="21"/>
          </p:nvPr>
        </p:nvSpPr>
        <p:spPr/>
        <p:txBody>
          <a:bodyPr/>
          <a:lstStyle/>
          <a:p>
            <a:r>
              <a:rPr lang="en-US"/>
              <a:t> </a:t>
            </a:r>
            <a:endParaRPr lang="en-US" dirty="0"/>
          </a:p>
        </p:txBody>
      </p:sp>
    </p:spTree>
    <p:extLst>
      <p:ext uri="{BB962C8B-B14F-4D97-AF65-F5344CB8AC3E}">
        <p14:creationId xmlns:p14="http://schemas.microsoft.com/office/powerpoint/2010/main" val="718645400"/>
      </p:ext>
    </p:extLst>
  </p:cSld>
  <p:clrMapOvr>
    <a:masterClrMapping/>
  </p:clrMapOvr>
  <p:hf hdr="0"/>
  <p:extLst mod="1">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clipArtAndTx" preserve="1">
  <p:cSld name="IFX_PresentationTitle_2">
    <p:bg>
      <p:bgPr>
        <a:solidFill>
          <a:schemeClr val="bg1"/>
        </a:solidFill>
        <a:effectLst/>
      </p:bgPr>
    </p:bg>
    <p:spTree>
      <p:nvGrpSpPr>
        <p:cNvPr id="1" name=""/>
        <p:cNvGrpSpPr/>
        <p:nvPr/>
      </p:nvGrpSpPr>
      <p:grpSpPr>
        <a:xfrm>
          <a:off x="0" y="0"/>
          <a:ext cx="0" cy="0"/>
          <a:chOff x="0" y="0"/>
          <a:chExt cx="0" cy="0"/>
        </a:xfrm>
      </p:grpSpPr>
      <p:sp>
        <p:nvSpPr>
          <p:cNvPr id="5" name="LOGO PROTECTION" hidden="1">
            <a:extLst>
              <a:ext uri="{FF2B5EF4-FFF2-40B4-BE49-F238E27FC236}">
                <a16:creationId xmlns:a16="http://schemas.microsoft.com/office/drawing/2014/main" id="{D04A951B-0B3C-4A20-86D2-B3C8F8FB9563}"/>
              </a:ext>
            </a:extLst>
          </p:cNvPr>
          <p:cNvSpPr/>
          <p:nvPr>
            <p:custDataLst>
              <p:tags r:id="rId1"/>
            </p:custDataLst>
          </p:nvPr>
        </p:nvSpPr>
        <p:spPr bwMode="auto">
          <a:xfrm>
            <a:off x="7218294" y="4002910"/>
            <a:ext cx="1545538" cy="837092"/>
          </a:xfrm>
          <a:prstGeom prst="rect">
            <a:avLst/>
          </a:prstGeom>
          <a:solidFill>
            <a:schemeClr val="accent3">
              <a:alpha val="50000"/>
            </a:schemeClr>
          </a:solidFill>
          <a:ln w="9525">
            <a:noFill/>
            <a:miter lim="800000"/>
            <a:headEnd/>
            <a:tailEnd/>
          </a:ln>
        </p:spPr>
        <p:txBody>
          <a:bodyPr wrap="square" lIns="54000" tIns="54000" rIns="54000" bIns="54000" rtlCol="0" anchor="ctr"/>
          <a:lstStyle/>
          <a:p>
            <a:pPr algn="ctr" eaLnBrk="0" hangingPunct="0"/>
            <a:endParaRPr lang="en-US" sz="1200" baseline="0" noProof="0">
              <a:latin typeface="+mn-lt"/>
              <a:ea typeface="+mn-ea"/>
              <a:cs typeface="+mn-cs"/>
            </a:endParaRPr>
          </a:p>
        </p:txBody>
      </p:sp>
      <p:sp>
        <p:nvSpPr>
          <p:cNvPr id="7" name="Background White">
            <a:extLst>
              <a:ext uri="{FF2B5EF4-FFF2-40B4-BE49-F238E27FC236}">
                <a16:creationId xmlns:a16="http://schemas.microsoft.com/office/drawing/2014/main" id="{AFE04B5B-4266-446C-AFD4-7F662DB99088}"/>
              </a:ext>
            </a:extLst>
          </p:cNvPr>
          <p:cNvSpPr/>
          <p:nvPr/>
        </p:nvSpPr>
        <p:spPr bwMode="auto">
          <a:xfrm>
            <a:off x="0" y="0"/>
            <a:ext cx="9144900" cy="5143500"/>
          </a:xfrm>
          <a:prstGeom prst="rect">
            <a:avLst/>
          </a:prstGeom>
          <a:solidFill>
            <a:schemeClr val="bg1"/>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21" name="Picture Placeholder 20">
            <a:extLst>
              <a:ext uri="{FF2B5EF4-FFF2-40B4-BE49-F238E27FC236}">
                <a16:creationId xmlns:a16="http://schemas.microsoft.com/office/drawing/2014/main" id="{078FA743-D255-4464-8B0A-0C6C3C86AF67}"/>
              </a:ext>
            </a:extLst>
          </p:cNvPr>
          <p:cNvSpPr>
            <a:spLocks noGrp="1"/>
          </p:cNvSpPr>
          <p:nvPr>
            <p:ph type="pic" sz="quarter" idx="14"/>
          </p:nvPr>
        </p:nvSpPr>
        <p:spPr>
          <a:xfrm>
            <a:off x="1965" y="1"/>
            <a:ext cx="9144000" cy="2935859"/>
          </a:xfrm>
          <a:custGeom>
            <a:avLst/>
            <a:gdLst>
              <a:gd name="connsiteX0" fmla="*/ 0 w 12192000"/>
              <a:gd name="connsiteY0" fmla="*/ 754254 h 3914479"/>
              <a:gd name="connsiteX1" fmla="*/ 3718844 w 12192000"/>
              <a:gd name="connsiteY1" fmla="*/ 1409987 h 3914479"/>
              <a:gd name="connsiteX2" fmla="*/ 3717075 w 12192000"/>
              <a:gd name="connsiteY2" fmla="*/ 1418748 h 3914479"/>
              <a:gd name="connsiteX3" fmla="*/ 3792675 w 12192000"/>
              <a:gd name="connsiteY3" fmla="*/ 1494348 h 3914479"/>
              <a:gd name="connsiteX4" fmla="*/ 3822102 w 12192000"/>
              <a:gd name="connsiteY4" fmla="*/ 1488407 h 3914479"/>
              <a:gd name="connsiteX5" fmla="*/ 3827476 w 12192000"/>
              <a:gd name="connsiteY5" fmla="*/ 1484784 h 3914479"/>
              <a:gd name="connsiteX6" fmla="*/ 4940342 w 12192000"/>
              <a:gd name="connsiteY6" fmla="*/ 3668903 h 3914479"/>
              <a:gd name="connsiteX7" fmla="*/ 1040095 w 12192000"/>
              <a:gd name="connsiteY7" fmla="*/ 3866924 h 3914479"/>
              <a:gd name="connsiteX8" fmla="*/ 0 w 12192000"/>
              <a:gd name="connsiteY8" fmla="*/ 3914479 h 3914479"/>
              <a:gd name="connsiteX9" fmla="*/ 8538152 w 12192000"/>
              <a:gd name="connsiteY9" fmla="*/ 0 h 3914479"/>
              <a:gd name="connsiteX10" fmla="*/ 12192000 w 12192000"/>
              <a:gd name="connsiteY10" fmla="*/ 0 h 3914479"/>
              <a:gd name="connsiteX11" fmla="*/ 12192000 w 12192000"/>
              <a:gd name="connsiteY11" fmla="*/ 1782101 h 3914479"/>
              <a:gd name="connsiteX12" fmla="*/ 4684292 w 12192000"/>
              <a:gd name="connsiteY12" fmla="*/ 0 h 3914479"/>
              <a:gd name="connsiteX13" fmla="*/ 8509181 w 12192000"/>
              <a:gd name="connsiteY13" fmla="*/ 0 h 3914479"/>
              <a:gd name="connsiteX14" fmla="*/ 12192000 w 12192000"/>
              <a:gd name="connsiteY14" fmla="*/ 1796231 h 3914479"/>
              <a:gd name="connsiteX15" fmla="*/ 12192000 w 12192000"/>
              <a:gd name="connsiteY15" fmla="*/ 3300727 h 3914479"/>
              <a:gd name="connsiteX16" fmla="*/ 4954235 w 12192000"/>
              <a:gd name="connsiteY16" fmla="*/ 3668198 h 3914479"/>
              <a:gd name="connsiteX17" fmla="*/ 3838086 w 12192000"/>
              <a:gd name="connsiteY17" fmla="*/ 1477631 h 3914479"/>
              <a:gd name="connsiteX18" fmla="*/ 3846133 w 12192000"/>
              <a:gd name="connsiteY18" fmla="*/ 1472206 h 3914479"/>
              <a:gd name="connsiteX19" fmla="*/ 3868275 w 12192000"/>
              <a:gd name="connsiteY19" fmla="*/ 1418748 h 3914479"/>
              <a:gd name="connsiteX20" fmla="*/ 3846133 w 12192000"/>
              <a:gd name="connsiteY20" fmla="*/ 1365291 h 3914479"/>
              <a:gd name="connsiteX21" fmla="*/ 3835600 w 12192000"/>
              <a:gd name="connsiteY21" fmla="*/ 1358189 h 3914479"/>
              <a:gd name="connsiteX22" fmla="*/ 0 w 12192000"/>
              <a:gd name="connsiteY22" fmla="*/ 0 h 3914479"/>
              <a:gd name="connsiteX23" fmla="*/ 4669316 w 12192000"/>
              <a:gd name="connsiteY23" fmla="*/ 0 h 3914479"/>
              <a:gd name="connsiteX24" fmla="*/ 3825063 w 12192000"/>
              <a:gd name="connsiteY24" fmla="*/ 1351086 h 3914479"/>
              <a:gd name="connsiteX25" fmla="*/ 3822102 w 12192000"/>
              <a:gd name="connsiteY25" fmla="*/ 1349089 h 3914479"/>
              <a:gd name="connsiteX26" fmla="*/ 3792675 w 12192000"/>
              <a:gd name="connsiteY26" fmla="*/ 1343148 h 3914479"/>
              <a:gd name="connsiteX27" fmla="*/ 3723016 w 12192000"/>
              <a:gd name="connsiteY27" fmla="*/ 1389321 h 3914479"/>
              <a:gd name="connsiteX28" fmla="*/ 3721358 w 12192000"/>
              <a:gd name="connsiteY28" fmla="*/ 1397534 h 3914479"/>
              <a:gd name="connsiteX29" fmla="*/ 0 w 12192000"/>
              <a:gd name="connsiteY29" fmla="*/ 741358 h 3914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192000" h="3914479">
                <a:moveTo>
                  <a:pt x="0" y="754254"/>
                </a:moveTo>
                <a:lnTo>
                  <a:pt x="3718844" y="1409987"/>
                </a:lnTo>
                <a:lnTo>
                  <a:pt x="3717075" y="1418748"/>
                </a:lnTo>
                <a:cubicBezTo>
                  <a:pt x="3717075" y="1460501"/>
                  <a:pt x="3750922" y="1494348"/>
                  <a:pt x="3792675" y="1494348"/>
                </a:cubicBezTo>
                <a:cubicBezTo>
                  <a:pt x="3803114" y="1494348"/>
                  <a:pt x="3813058" y="1492233"/>
                  <a:pt x="3822102" y="1488407"/>
                </a:cubicBezTo>
                <a:lnTo>
                  <a:pt x="3827476" y="1484784"/>
                </a:lnTo>
                <a:lnTo>
                  <a:pt x="4940342" y="3668903"/>
                </a:lnTo>
                <a:lnTo>
                  <a:pt x="1040095" y="3866924"/>
                </a:lnTo>
                <a:lnTo>
                  <a:pt x="0" y="3914479"/>
                </a:lnTo>
                <a:close/>
                <a:moveTo>
                  <a:pt x="8538152" y="0"/>
                </a:moveTo>
                <a:lnTo>
                  <a:pt x="12192000" y="0"/>
                </a:lnTo>
                <a:lnTo>
                  <a:pt x="12192000" y="1782101"/>
                </a:lnTo>
                <a:close/>
                <a:moveTo>
                  <a:pt x="4684292" y="0"/>
                </a:moveTo>
                <a:lnTo>
                  <a:pt x="8509181" y="0"/>
                </a:lnTo>
                <a:lnTo>
                  <a:pt x="12192000" y="1796231"/>
                </a:lnTo>
                <a:lnTo>
                  <a:pt x="12192000" y="3300727"/>
                </a:lnTo>
                <a:lnTo>
                  <a:pt x="4954235" y="3668198"/>
                </a:lnTo>
                <a:lnTo>
                  <a:pt x="3838086" y="1477631"/>
                </a:lnTo>
                <a:lnTo>
                  <a:pt x="3846133" y="1472206"/>
                </a:lnTo>
                <a:cubicBezTo>
                  <a:pt x="3859814" y="1458525"/>
                  <a:pt x="3868275" y="1439625"/>
                  <a:pt x="3868275" y="1418748"/>
                </a:cubicBezTo>
                <a:cubicBezTo>
                  <a:pt x="3868275" y="1397872"/>
                  <a:pt x="3859814" y="1378972"/>
                  <a:pt x="3846133" y="1365291"/>
                </a:cubicBezTo>
                <a:lnTo>
                  <a:pt x="3835600" y="1358189"/>
                </a:lnTo>
                <a:close/>
                <a:moveTo>
                  <a:pt x="0" y="0"/>
                </a:moveTo>
                <a:lnTo>
                  <a:pt x="4669316" y="0"/>
                </a:lnTo>
                <a:lnTo>
                  <a:pt x="3825063" y="1351086"/>
                </a:lnTo>
                <a:lnTo>
                  <a:pt x="3822102" y="1349089"/>
                </a:lnTo>
                <a:cubicBezTo>
                  <a:pt x="3813058" y="1345264"/>
                  <a:pt x="3803114" y="1343148"/>
                  <a:pt x="3792675" y="1343148"/>
                </a:cubicBezTo>
                <a:cubicBezTo>
                  <a:pt x="3761361" y="1343148"/>
                  <a:pt x="3734493" y="1362187"/>
                  <a:pt x="3723016" y="1389321"/>
                </a:cubicBezTo>
                <a:lnTo>
                  <a:pt x="3721358" y="1397534"/>
                </a:lnTo>
                <a:lnTo>
                  <a:pt x="0" y="741358"/>
                </a:lnTo>
                <a:close/>
              </a:path>
            </a:pathLst>
          </a:custGeom>
          <a:blipFill>
            <a:blip r:embed="rId7"/>
            <a:stretch>
              <a:fillRect/>
            </a:stretch>
          </a:blipFill>
        </p:spPr>
        <p:txBody>
          <a:bodyPr wrap="square" bIns="828000" anchor="ctr" anchorCtr="1">
            <a:noAutofit/>
          </a:bodyPr>
          <a:lstStyle>
            <a:lvl1pPr>
              <a:buFontTx/>
              <a:buNone/>
              <a:defRPr sz="1200" baseline="0">
                <a:latin typeface="+mn-lt"/>
                <a:ea typeface="+mn-ea"/>
                <a:cs typeface="+mn-cs"/>
              </a:defRPr>
            </a:lvl1pPr>
          </a:lstStyle>
          <a:p>
            <a:r>
              <a:rPr lang="en-US" noProof="0"/>
              <a:t>Click icon to add picture</a:t>
            </a:r>
          </a:p>
        </p:txBody>
      </p:sp>
      <p:sp>
        <p:nvSpPr>
          <p:cNvPr id="16" name="Title">
            <a:extLst>
              <a:ext uri="{FF2B5EF4-FFF2-40B4-BE49-F238E27FC236}">
                <a16:creationId xmlns:a16="http://schemas.microsoft.com/office/drawing/2014/main" id="{DDFB9099-E080-4657-A124-1583A7385081}"/>
              </a:ext>
            </a:extLst>
          </p:cNvPr>
          <p:cNvSpPr>
            <a:spLocks noGrp="1"/>
          </p:cNvSpPr>
          <p:nvPr>
            <p:ph type="title" hasCustomPrompt="1"/>
          </p:nvPr>
        </p:nvSpPr>
        <p:spPr>
          <a:xfrm>
            <a:off x="468001" y="3464274"/>
            <a:ext cx="8127000" cy="486000"/>
          </a:xfrm>
        </p:spPr>
        <p:txBody>
          <a:bodyPr anchor="b"/>
          <a:lstStyle>
            <a:lvl1pPr algn="l">
              <a:defRPr sz="2700" baseline="0">
                <a:latin typeface="+mj-lt"/>
                <a:ea typeface="+mj-ea"/>
                <a:cs typeface="+mj-cs"/>
              </a:defRPr>
            </a:lvl1pPr>
          </a:lstStyle>
          <a:p>
            <a:r>
              <a:rPr lang="en-US" noProof="0"/>
              <a:t>Please type in title</a:t>
            </a:r>
          </a:p>
        </p:txBody>
      </p:sp>
      <p:sp>
        <p:nvSpPr>
          <p:cNvPr id="36" name="Subtitle"/>
          <p:cNvSpPr>
            <a:spLocks noGrp="1"/>
          </p:cNvSpPr>
          <p:nvPr>
            <p:ph type="subTitle" idx="1" hasCustomPrompt="1"/>
          </p:nvPr>
        </p:nvSpPr>
        <p:spPr>
          <a:xfrm>
            <a:off x="468000" y="4247100"/>
            <a:ext cx="6210000" cy="459000"/>
          </a:xfrm>
          <a:prstGeom prst="rect">
            <a:avLst/>
          </a:prstGeom>
        </p:spPr>
        <p:txBody>
          <a:bodyPr vert="horz" wrap="square" lIns="0" tIns="0" rIns="0" bIns="0" rtlCol="0" anchor="b" anchorCtr="0">
            <a:noAutofit/>
          </a:bodyPr>
          <a:lstStyle>
            <a:lvl1pPr marL="0" indent="0" algn="l">
              <a:spcAft>
                <a:spcPts val="0"/>
              </a:spcAft>
              <a:buNone/>
              <a:defRPr lang="en-GB" sz="1500" baseline="0" noProof="0" dirty="0">
                <a:solidFill>
                  <a:schemeClr val="tx1"/>
                </a:solidFill>
                <a:latin typeface="+mn-lt"/>
                <a:ea typeface="+mn-ea"/>
                <a:cs typeface="+mn-cs"/>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pPr lvl="0"/>
            <a:r>
              <a:rPr lang="en-US" noProof="0"/>
              <a:t>Author (department)</a:t>
            </a:r>
            <a:br>
              <a:rPr lang="en-US" noProof="0"/>
            </a:br>
            <a:r>
              <a:rPr lang="en-US" noProof="0"/>
              <a:t>Date</a:t>
            </a:r>
          </a:p>
        </p:txBody>
      </p:sp>
      <p:sp>
        <p:nvSpPr>
          <p:cNvPr id="8" name="empower_classification_attention_placeholder" hidden="1">
            <a:extLst>
              <a:ext uri="{FF2B5EF4-FFF2-40B4-BE49-F238E27FC236}">
                <a16:creationId xmlns:a16="http://schemas.microsoft.com/office/drawing/2014/main" id="{597455C0-1C86-4D66-BC01-C39FC0636301}"/>
              </a:ext>
            </a:extLst>
          </p:cNvPr>
          <p:cNvSpPr txBox="1"/>
          <p:nvPr>
            <p:custDataLst>
              <p:tags r:id="rId2"/>
            </p:custDataLst>
          </p:nvPr>
        </p:nvSpPr>
        <p:spPr bwMode="auto">
          <a:xfrm>
            <a:off x="4058850" y="4876200"/>
            <a:ext cx="1026301" cy="216694"/>
          </a:xfrm>
          <a:prstGeom prst="rect">
            <a:avLst/>
          </a:prstGeom>
          <a:noFill/>
          <a:ln w="9525">
            <a:noFill/>
            <a:miter lim="800000"/>
            <a:headEnd/>
            <a:tailEnd/>
          </a:ln>
          <a:effectLst/>
        </p:spPr>
        <p:txBody>
          <a:bodyPr wrap="none" lIns="0" tIns="0" rIns="0" bIns="0" rtlCol="0" anchor="ctr" anchorCtr="0">
            <a:noAutofit/>
          </a:bodyPr>
          <a:lstStyle/>
          <a:p>
            <a:pPr marL="0" marR="0" indent="0" algn="ctr"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900" kern="0" baseline="0" noProof="0">
                <a:solidFill>
                  <a:srgbClr val="E30034"/>
                </a:solidFill>
                <a:latin typeface="+mn-lt"/>
                <a:ea typeface="+mn-ea"/>
                <a:cs typeface="+mn-cs"/>
              </a:rPr>
              <a:t>Restricted</a:t>
            </a:r>
          </a:p>
        </p:txBody>
      </p:sp>
      <p:sp>
        <p:nvSpPr>
          <p:cNvPr id="9" name="empower_classification_placeholder">
            <a:extLst>
              <a:ext uri="{FF2B5EF4-FFF2-40B4-BE49-F238E27FC236}">
                <a16:creationId xmlns:a16="http://schemas.microsoft.com/office/drawing/2014/main" id="{F2A69E30-B66A-4640-A0FD-5D2C3EE160B0}"/>
              </a:ext>
            </a:extLst>
          </p:cNvPr>
          <p:cNvSpPr txBox="1"/>
          <p:nvPr>
            <p:custDataLst>
              <p:tags r:id="rId3"/>
            </p:custDataLst>
          </p:nvPr>
        </p:nvSpPr>
        <p:spPr bwMode="auto">
          <a:xfrm>
            <a:off x="4059000" y="4876200"/>
            <a:ext cx="1026000" cy="216694"/>
          </a:xfrm>
          <a:prstGeom prst="rect">
            <a:avLst/>
          </a:prstGeom>
          <a:noFill/>
          <a:ln w="9525">
            <a:noFill/>
            <a:miter lim="800000"/>
            <a:headEnd/>
            <a:tailEnd/>
          </a:ln>
          <a:effectLst/>
        </p:spPr>
        <p:txBody>
          <a:bodyPr wrap="none" lIns="0" tIns="0" rIns="0" bIns="0" rtlCol="0" anchor="ctr" anchorCtr="0">
            <a:noAutofit/>
          </a:bodyPr>
          <a:lstStyle/>
          <a:p>
            <a:pPr marL="0" marR="0" indent="0" algn="ctr"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900" kern="0" baseline="0" noProof="0">
                <a:solidFill>
                  <a:srgbClr val="928285"/>
                </a:solidFill>
                <a:latin typeface="+mn-lt"/>
                <a:ea typeface="+mn-ea"/>
                <a:cs typeface="+mn-cs"/>
              </a:rPr>
              <a:t>restricted</a:t>
            </a:r>
          </a:p>
        </p:txBody>
      </p:sp>
      <p:sp>
        <p:nvSpPr>
          <p:cNvPr id="10" name="empower_document_placeholder" hidden="1">
            <a:extLst>
              <a:ext uri="{FF2B5EF4-FFF2-40B4-BE49-F238E27FC236}">
                <a16:creationId xmlns:a16="http://schemas.microsoft.com/office/drawing/2014/main" id="{96E39437-30C8-4D2C-BDE0-D743E3FA80DD}"/>
              </a:ext>
            </a:extLst>
          </p:cNvPr>
          <p:cNvSpPr txBox="1"/>
          <p:nvPr>
            <p:custDataLst>
              <p:tags r:id="rId4"/>
            </p:custDataLst>
          </p:nvPr>
        </p:nvSpPr>
        <p:spPr bwMode="auto">
          <a:xfrm>
            <a:off x="468001" y="4876200"/>
            <a:ext cx="2430065" cy="216694"/>
          </a:xfrm>
          <a:prstGeom prst="rect">
            <a:avLst/>
          </a:prstGeom>
          <a:noFill/>
          <a:ln w="9525">
            <a:noFill/>
            <a:miter lim="800000"/>
            <a:headEnd/>
            <a:tailEnd/>
          </a:ln>
          <a:effectLst/>
        </p:spPr>
        <p:txBody>
          <a:bodyPr wrap="none" lIns="0" tIns="0" rIns="0" bIns="0" rtlCol="0" anchor="ctr" anchorCtr="0">
            <a:noAutofit/>
          </a:bodyPr>
          <a:lstStyle/>
          <a:p>
            <a:pPr marL="0" marR="0" indent="0"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900" kern="0" baseline="0" noProof="0">
                <a:solidFill>
                  <a:srgbClr val="928285"/>
                </a:solidFill>
                <a:latin typeface="+mn-lt"/>
                <a:ea typeface="+mn-ea"/>
                <a:cs typeface="+mn-cs"/>
              </a:rPr>
              <a:t>[Owner:   Doc ID:   Vers.: ]</a:t>
            </a:r>
          </a:p>
        </p:txBody>
      </p:sp>
      <p:sp>
        <p:nvSpPr>
          <p:cNvPr id="19" name="empower_draft_placeholder" hidden="1">
            <a:extLst>
              <a:ext uri="{FF2B5EF4-FFF2-40B4-BE49-F238E27FC236}">
                <a16:creationId xmlns:a16="http://schemas.microsoft.com/office/drawing/2014/main" id="{4B8FCDCD-762A-43C6-901A-F85ED8B716CE}"/>
              </a:ext>
            </a:extLst>
          </p:cNvPr>
          <p:cNvSpPr txBox="1"/>
          <p:nvPr>
            <p:custDataLst>
              <p:tags r:id="rId5"/>
            </p:custDataLst>
          </p:nvPr>
        </p:nvSpPr>
        <p:spPr bwMode="auto">
          <a:xfrm>
            <a:off x="3262533" y="4875929"/>
            <a:ext cx="432000" cy="216000"/>
          </a:xfrm>
          <a:prstGeom prst="rect">
            <a:avLst/>
          </a:prstGeom>
          <a:noFill/>
          <a:ln w="9525">
            <a:noFill/>
            <a:miter lim="800000"/>
            <a:headEnd/>
            <a:tailEnd/>
          </a:ln>
          <a:effectLst/>
        </p:spPr>
        <p:txBody>
          <a:bodyPr wrap="none" lIns="0" tIns="0" rIns="0" bIns="0" rtlCol="0" anchor="ctr" anchorCtr="0">
            <a:noAutofit/>
          </a:bodyPr>
          <a:lstStyle/>
          <a:p>
            <a:pPr marL="0" marR="0" indent="0" algn="ctr"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900" kern="0" baseline="0" noProof="0">
                <a:solidFill>
                  <a:srgbClr val="928285"/>
                </a:solidFill>
                <a:latin typeface="+mn-lt"/>
                <a:ea typeface="+mn-ea"/>
                <a:cs typeface="+mn-cs"/>
              </a:rPr>
              <a:t>- DRAFT -</a:t>
            </a:r>
          </a:p>
        </p:txBody>
      </p:sp>
      <p:grpSp>
        <p:nvGrpSpPr>
          <p:cNvPr id="12" name="Logo">
            <a:extLst>
              <a:ext uri="{FF2B5EF4-FFF2-40B4-BE49-F238E27FC236}">
                <a16:creationId xmlns:a16="http://schemas.microsoft.com/office/drawing/2014/main" id="{7D4C4BA3-EB41-4D16-AC7A-1D39D9C25FCF}"/>
              </a:ext>
            </a:extLst>
          </p:cNvPr>
          <p:cNvGrpSpPr/>
          <p:nvPr/>
        </p:nvGrpSpPr>
        <p:grpSpPr>
          <a:xfrm>
            <a:off x="7303767" y="4089967"/>
            <a:ext cx="1372690" cy="600323"/>
            <a:chOff x="9738355" y="5453288"/>
            <a:chExt cx="1830253" cy="800431"/>
          </a:xfrm>
        </p:grpSpPr>
        <p:sp>
          <p:nvSpPr>
            <p:cNvPr id="13" name="Freeform: Shape 12">
              <a:extLst>
                <a:ext uri="{FF2B5EF4-FFF2-40B4-BE49-F238E27FC236}">
                  <a16:creationId xmlns:a16="http://schemas.microsoft.com/office/drawing/2014/main" id="{2F453EFB-4C66-424D-935B-1B2057CC2B64}"/>
                </a:ext>
              </a:extLst>
            </p:cNvPr>
            <p:cNvSpPr/>
            <p:nvPr/>
          </p:nvSpPr>
          <p:spPr>
            <a:xfrm>
              <a:off x="9979381" y="5528812"/>
              <a:ext cx="1412001" cy="463475"/>
            </a:xfrm>
            <a:custGeom>
              <a:avLst/>
              <a:gdLst>
                <a:gd name="connsiteX0" fmla="*/ 1120063 w 1412001"/>
                <a:gd name="connsiteY0" fmla="*/ 463475 h 463475"/>
                <a:gd name="connsiteX1" fmla="*/ 1209643 w 1412001"/>
                <a:gd name="connsiteY1" fmla="*/ 324691 h 463475"/>
                <a:gd name="connsiteX2" fmla="*/ 1120063 w 1412001"/>
                <a:gd name="connsiteY2" fmla="*/ 189134 h 463475"/>
                <a:gd name="connsiteX3" fmla="*/ 1031773 w 1412001"/>
                <a:gd name="connsiteY3" fmla="*/ 325982 h 463475"/>
                <a:gd name="connsiteX4" fmla="*/ 1120063 w 1412001"/>
                <a:gd name="connsiteY4" fmla="*/ 463475 h 463475"/>
                <a:gd name="connsiteX5" fmla="*/ 1086552 w 1412001"/>
                <a:gd name="connsiteY5" fmla="*/ 324045 h 463475"/>
                <a:gd name="connsiteX6" fmla="*/ 1120063 w 1412001"/>
                <a:gd name="connsiteY6" fmla="*/ 235611 h 463475"/>
                <a:gd name="connsiteX7" fmla="*/ 1154864 w 1412001"/>
                <a:gd name="connsiteY7" fmla="*/ 325336 h 463475"/>
                <a:gd name="connsiteX8" fmla="*/ 1121352 w 1412001"/>
                <a:gd name="connsiteY8" fmla="*/ 418290 h 463475"/>
                <a:gd name="connsiteX9" fmla="*/ 1086552 w 1412001"/>
                <a:gd name="connsiteY9" fmla="*/ 324045 h 463475"/>
                <a:gd name="connsiteX10" fmla="*/ 921571 w 1412001"/>
                <a:gd name="connsiteY10" fmla="*/ 463475 h 463475"/>
                <a:gd name="connsiteX11" fmla="*/ 995683 w 1412001"/>
                <a:gd name="connsiteY11" fmla="*/ 428618 h 463475"/>
                <a:gd name="connsiteX12" fmla="*/ 975705 w 1412001"/>
                <a:gd name="connsiteY12" fmla="*/ 391178 h 463475"/>
                <a:gd name="connsiteX13" fmla="*/ 926082 w 1412001"/>
                <a:gd name="connsiteY13" fmla="*/ 416999 h 463475"/>
                <a:gd name="connsiteX14" fmla="*/ 889993 w 1412001"/>
                <a:gd name="connsiteY14" fmla="*/ 392469 h 463475"/>
                <a:gd name="connsiteX15" fmla="*/ 882259 w 1412001"/>
                <a:gd name="connsiteY15" fmla="*/ 346638 h 463475"/>
                <a:gd name="connsiteX16" fmla="*/ 882259 w 1412001"/>
                <a:gd name="connsiteY16" fmla="*/ 341474 h 463475"/>
                <a:gd name="connsiteX17" fmla="*/ 998261 w 1412001"/>
                <a:gd name="connsiteY17" fmla="*/ 341474 h 463475"/>
                <a:gd name="connsiteX18" fmla="*/ 998261 w 1412001"/>
                <a:gd name="connsiteY18" fmla="*/ 329855 h 463475"/>
                <a:gd name="connsiteX19" fmla="*/ 973127 w 1412001"/>
                <a:gd name="connsiteY19" fmla="*/ 216891 h 463475"/>
                <a:gd name="connsiteX20" fmla="*/ 915126 w 1412001"/>
                <a:gd name="connsiteY20" fmla="*/ 189134 h 463475"/>
                <a:gd name="connsiteX21" fmla="*/ 852614 w 1412001"/>
                <a:gd name="connsiteY21" fmla="*/ 223346 h 463475"/>
                <a:gd name="connsiteX22" fmla="*/ 828770 w 1412001"/>
                <a:gd name="connsiteY22" fmla="*/ 325982 h 463475"/>
                <a:gd name="connsiteX23" fmla="*/ 921571 w 1412001"/>
                <a:gd name="connsiteY23" fmla="*/ 463475 h 463475"/>
                <a:gd name="connsiteX24" fmla="*/ 915771 w 1412001"/>
                <a:gd name="connsiteY24" fmla="*/ 231738 h 463475"/>
                <a:gd name="connsiteX25" fmla="*/ 941549 w 1412001"/>
                <a:gd name="connsiteY25" fmla="*/ 250457 h 463475"/>
                <a:gd name="connsiteX26" fmla="*/ 947349 w 1412001"/>
                <a:gd name="connsiteY26" fmla="*/ 298871 h 463475"/>
                <a:gd name="connsiteX27" fmla="*/ 882259 w 1412001"/>
                <a:gd name="connsiteY27" fmla="*/ 298871 h 463475"/>
                <a:gd name="connsiteX28" fmla="*/ 915771 w 1412001"/>
                <a:gd name="connsiteY28" fmla="*/ 231738 h 463475"/>
                <a:gd name="connsiteX29" fmla="*/ 1252177 w 1412001"/>
                <a:gd name="connsiteY29" fmla="*/ 457020 h 463475"/>
                <a:gd name="connsiteX30" fmla="*/ 1302444 w 1412001"/>
                <a:gd name="connsiteY30" fmla="*/ 457020 h 463475"/>
                <a:gd name="connsiteX31" fmla="*/ 1302444 w 1412001"/>
                <a:gd name="connsiteY31" fmla="*/ 263368 h 463475"/>
                <a:gd name="connsiteX32" fmla="*/ 1339178 w 1412001"/>
                <a:gd name="connsiteY32" fmla="*/ 240129 h 463475"/>
                <a:gd name="connsiteX33" fmla="*/ 1355934 w 1412001"/>
                <a:gd name="connsiteY33" fmla="*/ 246584 h 463475"/>
                <a:gd name="connsiteX34" fmla="*/ 1361734 w 1412001"/>
                <a:gd name="connsiteY34" fmla="*/ 280796 h 463475"/>
                <a:gd name="connsiteX35" fmla="*/ 1361734 w 1412001"/>
                <a:gd name="connsiteY35" fmla="*/ 457020 h 463475"/>
                <a:gd name="connsiteX36" fmla="*/ 1412002 w 1412001"/>
                <a:gd name="connsiteY36" fmla="*/ 457020 h 463475"/>
                <a:gd name="connsiteX37" fmla="*/ 1412002 w 1412001"/>
                <a:gd name="connsiteY37" fmla="*/ 257558 h 463475"/>
                <a:gd name="connsiteX38" fmla="*/ 1399757 w 1412001"/>
                <a:gd name="connsiteY38" fmla="*/ 209790 h 463475"/>
                <a:gd name="connsiteX39" fmla="*/ 1358512 w 1412001"/>
                <a:gd name="connsiteY39" fmla="*/ 191071 h 463475"/>
                <a:gd name="connsiteX40" fmla="*/ 1298577 w 1412001"/>
                <a:gd name="connsiteY40" fmla="*/ 220119 h 463475"/>
                <a:gd name="connsiteX41" fmla="*/ 1292133 w 1412001"/>
                <a:gd name="connsiteY41" fmla="*/ 189134 h 463475"/>
                <a:gd name="connsiteX42" fmla="*/ 1245088 w 1412001"/>
                <a:gd name="connsiteY42" fmla="*/ 201399 h 463475"/>
                <a:gd name="connsiteX43" fmla="*/ 1251532 w 1412001"/>
                <a:gd name="connsiteY43" fmla="*/ 264659 h 463475"/>
                <a:gd name="connsiteX44" fmla="*/ 1251532 w 1412001"/>
                <a:gd name="connsiteY44" fmla="*/ 457020 h 463475"/>
                <a:gd name="connsiteX45" fmla="*/ 668300 w 1412001"/>
                <a:gd name="connsiteY45" fmla="*/ 220119 h 463475"/>
                <a:gd name="connsiteX46" fmla="*/ 661856 w 1412001"/>
                <a:gd name="connsiteY46" fmla="*/ 189134 h 463475"/>
                <a:gd name="connsiteX47" fmla="*/ 614810 w 1412001"/>
                <a:gd name="connsiteY47" fmla="*/ 201399 h 463475"/>
                <a:gd name="connsiteX48" fmla="*/ 621255 w 1412001"/>
                <a:gd name="connsiteY48" fmla="*/ 264659 h 463475"/>
                <a:gd name="connsiteX49" fmla="*/ 621255 w 1412001"/>
                <a:gd name="connsiteY49" fmla="*/ 456375 h 463475"/>
                <a:gd name="connsiteX50" fmla="*/ 671522 w 1412001"/>
                <a:gd name="connsiteY50" fmla="*/ 456375 h 463475"/>
                <a:gd name="connsiteX51" fmla="*/ 671522 w 1412001"/>
                <a:gd name="connsiteY51" fmla="*/ 262722 h 463475"/>
                <a:gd name="connsiteX52" fmla="*/ 708256 w 1412001"/>
                <a:gd name="connsiteY52" fmla="*/ 239484 h 463475"/>
                <a:gd name="connsiteX53" fmla="*/ 725012 w 1412001"/>
                <a:gd name="connsiteY53" fmla="*/ 245939 h 463475"/>
                <a:gd name="connsiteX54" fmla="*/ 730812 w 1412001"/>
                <a:gd name="connsiteY54" fmla="*/ 280151 h 463475"/>
                <a:gd name="connsiteX55" fmla="*/ 730812 w 1412001"/>
                <a:gd name="connsiteY55" fmla="*/ 456375 h 463475"/>
                <a:gd name="connsiteX56" fmla="*/ 781080 w 1412001"/>
                <a:gd name="connsiteY56" fmla="*/ 456375 h 463475"/>
                <a:gd name="connsiteX57" fmla="*/ 781080 w 1412001"/>
                <a:gd name="connsiteY57" fmla="*/ 257558 h 463475"/>
                <a:gd name="connsiteX58" fmla="*/ 768835 w 1412001"/>
                <a:gd name="connsiteY58" fmla="*/ 209790 h 463475"/>
                <a:gd name="connsiteX59" fmla="*/ 727590 w 1412001"/>
                <a:gd name="connsiteY59" fmla="*/ 191071 h 463475"/>
                <a:gd name="connsiteX60" fmla="*/ 668300 w 1412001"/>
                <a:gd name="connsiteY60" fmla="*/ 220119 h 463475"/>
                <a:gd name="connsiteX61" fmla="*/ 53490 w 1412001"/>
                <a:gd name="connsiteY61" fmla="*/ 107154 h 463475"/>
                <a:gd name="connsiteX62" fmla="*/ 106980 w 1412001"/>
                <a:gd name="connsiteY62" fmla="*/ 53577 h 463475"/>
                <a:gd name="connsiteX63" fmla="*/ 53490 w 1412001"/>
                <a:gd name="connsiteY63" fmla="*/ 0 h 463475"/>
                <a:gd name="connsiteX64" fmla="*/ 0 w 1412001"/>
                <a:gd name="connsiteY64" fmla="*/ 53577 h 463475"/>
                <a:gd name="connsiteX65" fmla="*/ 53490 w 1412001"/>
                <a:gd name="connsiteY65" fmla="*/ 107154 h 463475"/>
                <a:gd name="connsiteX66" fmla="*/ 300316 w 1412001"/>
                <a:gd name="connsiteY66" fmla="*/ 457020 h 463475"/>
                <a:gd name="connsiteX67" fmla="*/ 300316 w 1412001"/>
                <a:gd name="connsiteY67" fmla="*/ 257558 h 463475"/>
                <a:gd name="connsiteX68" fmla="*/ 288072 w 1412001"/>
                <a:gd name="connsiteY68" fmla="*/ 209790 h 463475"/>
                <a:gd name="connsiteX69" fmla="*/ 246826 w 1412001"/>
                <a:gd name="connsiteY69" fmla="*/ 191071 h 463475"/>
                <a:gd name="connsiteX70" fmla="*/ 186892 w 1412001"/>
                <a:gd name="connsiteY70" fmla="*/ 220119 h 463475"/>
                <a:gd name="connsiteX71" fmla="*/ 180447 w 1412001"/>
                <a:gd name="connsiteY71" fmla="*/ 189134 h 463475"/>
                <a:gd name="connsiteX72" fmla="*/ 134047 w 1412001"/>
                <a:gd name="connsiteY72" fmla="*/ 202044 h 463475"/>
                <a:gd name="connsiteX73" fmla="*/ 140491 w 1412001"/>
                <a:gd name="connsiteY73" fmla="*/ 265304 h 463475"/>
                <a:gd name="connsiteX74" fmla="*/ 140491 w 1412001"/>
                <a:gd name="connsiteY74" fmla="*/ 457020 h 463475"/>
                <a:gd name="connsiteX75" fmla="*/ 190759 w 1412001"/>
                <a:gd name="connsiteY75" fmla="*/ 457020 h 463475"/>
                <a:gd name="connsiteX76" fmla="*/ 190759 w 1412001"/>
                <a:gd name="connsiteY76" fmla="*/ 263368 h 463475"/>
                <a:gd name="connsiteX77" fmla="*/ 227493 w 1412001"/>
                <a:gd name="connsiteY77" fmla="*/ 240129 h 463475"/>
                <a:gd name="connsiteX78" fmla="*/ 244249 w 1412001"/>
                <a:gd name="connsiteY78" fmla="*/ 246584 h 463475"/>
                <a:gd name="connsiteX79" fmla="*/ 250049 w 1412001"/>
                <a:gd name="connsiteY79" fmla="*/ 280796 h 463475"/>
                <a:gd name="connsiteX80" fmla="*/ 250049 w 1412001"/>
                <a:gd name="connsiteY80" fmla="*/ 457020 h 463475"/>
                <a:gd name="connsiteX81" fmla="*/ 300316 w 1412001"/>
                <a:gd name="connsiteY81" fmla="*/ 457020 h 463475"/>
                <a:gd name="connsiteX82" fmla="*/ 531676 w 1412001"/>
                <a:gd name="connsiteY82" fmla="*/ 92953 h 463475"/>
                <a:gd name="connsiteX83" fmla="*/ 498164 w 1412001"/>
                <a:gd name="connsiteY83" fmla="*/ 126520 h 463475"/>
                <a:gd name="connsiteX84" fmla="*/ 531031 w 1412001"/>
                <a:gd name="connsiteY84" fmla="*/ 160086 h 463475"/>
                <a:gd name="connsiteX85" fmla="*/ 564543 w 1412001"/>
                <a:gd name="connsiteY85" fmla="*/ 126520 h 463475"/>
                <a:gd name="connsiteX86" fmla="*/ 531676 w 1412001"/>
                <a:gd name="connsiteY86" fmla="*/ 92953 h 463475"/>
                <a:gd name="connsiteX87" fmla="*/ 29645 w 1412001"/>
                <a:gd name="connsiteY87" fmla="*/ 457020 h 463475"/>
                <a:gd name="connsiteX88" fmla="*/ 79912 w 1412001"/>
                <a:gd name="connsiteY88" fmla="*/ 457020 h 463475"/>
                <a:gd name="connsiteX89" fmla="*/ 79912 w 1412001"/>
                <a:gd name="connsiteY89" fmla="*/ 142657 h 463475"/>
                <a:gd name="connsiteX90" fmla="*/ 29645 w 1412001"/>
                <a:gd name="connsiteY90" fmla="*/ 149113 h 463475"/>
                <a:gd name="connsiteX91" fmla="*/ 29645 w 1412001"/>
                <a:gd name="connsiteY91" fmla="*/ 457020 h 463475"/>
                <a:gd name="connsiteX92" fmla="*/ 440163 w 1412001"/>
                <a:gd name="connsiteY92" fmla="*/ 123938 h 463475"/>
                <a:gd name="connsiteX93" fmla="*/ 464008 w 1412001"/>
                <a:gd name="connsiteY93" fmla="*/ 131684 h 463475"/>
                <a:gd name="connsiteX94" fmla="*/ 478186 w 1412001"/>
                <a:gd name="connsiteY94" fmla="*/ 92308 h 463475"/>
                <a:gd name="connsiteX95" fmla="*/ 431141 w 1412001"/>
                <a:gd name="connsiteY95" fmla="*/ 78107 h 463475"/>
                <a:gd name="connsiteX96" fmla="*/ 392473 w 1412001"/>
                <a:gd name="connsiteY96" fmla="*/ 91017 h 463475"/>
                <a:gd name="connsiteX97" fmla="*/ 367340 w 1412001"/>
                <a:gd name="connsiteY97" fmla="*/ 160732 h 463475"/>
                <a:gd name="connsiteX98" fmla="*/ 367984 w 1412001"/>
                <a:gd name="connsiteY98" fmla="*/ 194944 h 463475"/>
                <a:gd name="connsiteX99" fmla="*/ 350584 w 1412001"/>
                <a:gd name="connsiteY99" fmla="*/ 194944 h 463475"/>
                <a:gd name="connsiteX100" fmla="*/ 350584 w 1412001"/>
                <a:gd name="connsiteY100" fmla="*/ 239484 h 463475"/>
                <a:gd name="connsiteX101" fmla="*/ 367984 w 1412001"/>
                <a:gd name="connsiteY101" fmla="*/ 239484 h 463475"/>
                <a:gd name="connsiteX102" fmla="*/ 367984 w 1412001"/>
                <a:gd name="connsiteY102" fmla="*/ 456375 h 463475"/>
                <a:gd name="connsiteX103" fmla="*/ 419540 w 1412001"/>
                <a:gd name="connsiteY103" fmla="*/ 456375 h 463475"/>
                <a:gd name="connsiteX104" fmla="*/ 419540 w 1412001"/>
                <a:gd name="connsiteY104" fmla="*/ 240129 h 463475"/>
                <a:gd name="connsiteX105" fmla="*/ 457563 w 1412001"/>
                <a:gd name="connsiteY105" fmla="*/ 240129 h 463475"/>
                <a:gd name="connsiteX106" fmla="*/ 467230 w 1412001"/>
                <a:gd name="connsiteY106" fmla="*/ 195589 h 463475"/>
                <a:gd name="connsiteX107" fmla="*/ 420185 w 1412001"/>
                <a:gd name="connsiteY107" fmla="*/ 195589 h 463475"/>
                <a:gd name="connsiteX108" fmla="*/ 420185 w 1412001"/>
                <a:gd name="connsiteY108" fmla="*/ 155568 h 463475"/>
                <a:gd name="connsiteX109" fmla="*/ 440163 w 1412001"/>
                <a:gd name="connsiteY109" fmla="*/ 123938 h 463475"/>
                <a:gd name="connsiteX110" fmla="*/ 505897 w 1412001"/>
                <a:gd name="connsiteY110" fmla="*/ 457020 h 463475"/>
                <a:gd name="connsiteX111" fmla="*/ 556809 w 1412001"/>
                <a:gd name="connsiteY111" fmla="*/ 457020 h 463475"/>
                <a:gd name="connsiteX112" fmla="*/ 556809 w 1412001"/>
                <a:gd name="connsiteY112" fmla="*/ 191071 h 463475"/>
                <a:gd name="connsiteX113" fmla="*/ 505897 w 1412001"/>
                <a:gd name="connsiteY113" fmla="*/ 197526 h 463475"/>
                <a:gd name="connsiteX114" fmla="*/ 505897 w 1412001"/>
                <a:gd name="connsiteY114" fmla="*/ 457020 h 46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1412001" h="463475">
                  <a:moveTo>
                    <a:pt x="1120063" y="463475"/>
                  </a:moveTo>
                  <a:cubicBezTo>
                    <a:pt x="1188376" y="463475"/>
                    <a:pt x="1209643" y="391178"/>
                    <a:pt x="1209643" y="324691"/>
                  </a:cubicBezTo>
                  <a:cubicBezTo>
                    <a:pt x="1209643" y="235611"/>
                    <a:pt x="1172264" y="189134"/>
                    <a:pt x="1120063" y="189134"/>
                  </a:cubicBezTo>
                  <a:cubicBezTo>
                    <a:pt x="1054329" y="189134"/>
                    <a:pt x="1031128" y="261431"/>
                    <a:pt x="1031773" y="325982"/>
                  </a:cubicBezTo>
                  <a:cubicBezTo>
                    <a:pt x="1032417" y="389887"/>
                    <a:pt x="1050462" y="463475"/>
                    <a:pt x="1120063" y="463475"/>
                  </a:cubicBezTo>
                  <a:close/>
                  <a:moveTo>
                    <a:pt x="1086552" y="324045"/>
                  </a:moveTo>
                  <a:cubicBezTo>
                    <a:pt x="1086552" y="297580"/>
                    <a:pt x="1086552" y="235611"/>
                    <a:pt x="1120063" y="235611"/>
                  </a:cubicBezTo>
                  <a:cubicBezTo>
                    <a:pt x="1156153" y="235611"/>
                    <a:pt x="1154864" y="296934"/>
                    <a:pt x="1154864" y="325336"/>
                  </a:cubicBezTo>
                  <a:cubicBezTo>
                    <a:pt x="1154864" y="352448"/>
                    <a:pt x="1154864" y="418290"/>
                    <a:pt x="1121352" y="418290"/>
                  </a:cubicBezTo>
                  <a:cubicBezTo>
                    <a:pt x="1085263" y="417644"/>
                    <a:pt x="1086552" y="351802"/>
                    <a:pt x="1086552" y="324045"/>
                  </a:cubicBezTo>
                  <a:close/>
                  <a:moveTo>
                    <a:pt x="921571" y="463475"/>
                  </a:moveTo>
                  <a:cubicBezTo>
                    <a:pt x="949283" y="463475"/>
                    <a:pt x="973127" y="452502"/>
                    <a:pt x="995683" y="428618"/>
                  </a:cubicBezTo>
                  <a:lnTo>
                    <a:pt x="975705" y="391178"/>
                  </a:lnTo>
                  <a:cubicBezTo>
                    <a:pt x="960238" y="407962"/>
                    <a:pt x="944771" y="416999"/>
                    <a:pt x="926082" y="416999"/>
                  </a:cubicBezTo>
                  <a:cubicBezTo>
                    <a:pt x="910615" y="416999"/>
                    <a:pt x="897726" y="407962"/>
                    <a:pt x="889993" y="392469"/>
                  </a:cubicBezTo>
                  <a:cubicBezTo>
                    <a:pt x="883548" y="378914"/>
                    <a:pt x="882259" y="363422"/>
                    <a:pt x="882259" y="346638"/>
                  </a:cubicBezTo>
                  <a:lnTo>
                    <a:pt x="882259" y="341474"/>
                  </a:lnTo>
                  <a:lnTo>
                    <a:pt x="998261" y="341474"/>
                  </a:lnTo>
                  <a:lnTo>
                    <a:pt x="998261" y="329855"/>
                  </a:lnTo>
                  <a:cubicBezTo>
                    <a:pt x="998261" y="272405"/>
                    <a:pt x="991172" y="240775"/>
                    <a:pt x="973127" y="216891"/>
                  </a:cubicBezTo>
                  <a:cubicBezTo>
                    <a:pt x="959594" y="198817"/>
                    <a:pt x="939616" y="189134"/>
                    <a:pt x="915126" y="189134"/>
                  </a:cubicBezTo>
                  <a:cubicBezTo>
                    <a:pt x="889348" y="189134"/>
                    <a:pt x="868081" y="200753"/>
                    <a:pt x="852614" y="223346"/>
                  </a:cubicBezTo>
                  <a:cubicBezTo>
                    <a:pt x="835859" y="247875"/>
                    <a:pt x="828770" y="280796"/>
                    <a:pt x="828770" y="325982"/>
                  </a:cubicBezTo>
                  <a:cubicBezTo>
                    <a:pt x="828125" y="412480"/>
                    <a:pt x="862281" y="463475"/>
                    <a:pt x="921571" y="463475"/>
                  </a:cubicBezTo>
                  <a:close/>
                  <a:moveTo>
                    <a:pt x="915771" y="231738"/>
                  </a:moveTo>
                  <a:cubicBezTo>
                    <a:pt x="928660" y="231738"/>
                    <a:pt x="936394" y="238838"/>
                    <a:pt x="941549" y="250457"/>
                  </a:cubicBezTo>
                  <a:cubicBezTo>
                    <a:pt x="945416" y="260786"/>
                    <a:pt x="947349" y="278214"/>
                    <a:pt x="947349" y="298871"/>
                  </a:cubicBezTo>
                  <a:lnTo>
                    <a:pt x="882259" y="298871"/>
                  </a:lnTo>
                  <a:cubicBezTo>
                    <a:pt x="882904" y="253039"/>
                    <a:pt x="892571" y="231738"/>
                    <a:pt x="915771" y="231738"/>
                  </a:cubicBezTo>
                  <a:close/>
                  <a:moveTo>
                    <a:pt x="1252177" y="457020"/>
                  </a:moveTo>
                  <a:lnTo>
                    <a:pt x="1302444" y="457020"/>
                  </a:lnTo>
                  <a:lnTo>
                    <a:pt x="1302444" y="263368"/>
                  </a:lnTo>
                  <a:cubicBezTo>
                    <a:pt x="1314689" y="248521"/>
                    <a:pt x="1328867" y="240129"/>
                    <a:pt x="1339178" y="240129"/>
                  </a:cubicBezTo>
                  <a:cubicBezTo>
                    <a:pt x="1345623" y="240129"/>
                    <a:pt x="1352067" y="241420"/>
                    <a:pt x="1355934" y="246584"/>
                  </a:cubicBezTo>
                  <a:cubicBezTo>
                    <a:pt x="1359801" y="252394"/>
                    <a:pt x="1361734" y="260786"/>
                    <a:pt x="1361734" y="280796"/>
                  </a:cubicBezTo>
                  <a:lnTo>
                    <a:pt x="1361734" y="457020"/>
                  </a:lnTo>
                  <a:lnTo>
                    <a:pt x="1412002" y="457020"/>
                  </a:lnTo>
                  <a:lnTo>
                    <a:pt x="1412002" y="257558"/>
                  </a:lnTo>
                  <a:cubicBezTo>
                    <a:pt x="1412002" y="240129"/>
                    <a:pt x="1410068" y="222701"/>
                    <a:pt x="1399757" y="209790"/>
                  </a:cubicBezTo>
                  <a:cubicBezTo>
                    <a:pt x="1390735" y="198171"/>
                    <a:pt x="1376557" y="191071"/>
                    <a:pt x="1358512" y="191071"/>
                  </a:cubicBezTo>
                  <a:cubicBezTo>
                    <a:pt x="1335311" y="191071"/>
                    <a:pt x="1311467" y="204626"/>
                    <a:pt x="1298577" y="220119"/>
                  </a:cubicBezTo>
                  <a:cubicBezTo>
                    <a:pt x="1297933" y="206563"/>
                    <a:pt x="1293422" y="193653"/>
                    <a:pt x="1292133" y="189134"/>
                  </a:cubicBezTo>
                  <a:lnTo>
                    <a:pt x="1245088" y="201399"/>
                  </a:lnTo>
                  <a:cubicBezTo>
                    <a:pt x="1247665" y="215600"/>
                    <a:pt x="1251532" y="233029"/>
                    <a:pt x="1251532" y="264659"/>
                  </a:cubicBezTo>
                  <a:lnTo>
                    <a:pt x="1251532" y="457020"/>
                  </a:lnTo>
                  <a:close/>
                  <a:moveTo>
                    <a:pt x="668300" y="220119"/>
                  </a:moveTo>
                  <a:cubicBezTo>
                    <a:pt x="667656" y="206563"/>
                    <a:pt x="663145" y="193653"/>
                    <a:pt x="661856" y="189134"/>
                  </a:cubicBezTo>
                  <a:lnTo>
                    <a:pt x="614810" y="201399"/>
                  </a:lnTo>
                  <a:cubicBezTo>
                    <a:pt x="617388" y="215600"/>
                    <a:pt x="621255" y="233029"/>
                    <a:pt x="621255" y="264659"/>
                  </a:cubicBezTo>
                  <a:lnTo>
                    <a:pt x="621255" y="456375"/>
                  </a:lnTo>
                  <a:lnTo>
                    <a:pt x="671522" y="456375"/>
                  </a:lnTo>
                  <a:lnTo>
                    <a:pt x="671522" y="262722"/>
                  </a:lnTo>
                  <a:cubicBezTo>
                    <a:pt x="683767" y="247875"/>
                    <a:pt x="697945" y="239484"/>
                    <a:pt x="708256" y="239484"/>
                  </a:cubicBezTo>
                  <a:cubicBezTo>
                    <a:pt x="714701" y="239484"/>
                    <a:pt x="721146" y="240775"/>
                    <a:pt x="725012" y="245939"/>
                  </a:cubicBezTo>
                  <a:cubicBezTo>
                    <a:pt x="728879" y="251748"/>
                    <a:pt x="730812" y="260140"/>
                    <a:pt x="730812" y="280151"/>
                  </a:cubicBezTo>
                  <a:lnTo>
                    <a:pt x="730812" y="456375"/>
                  </a:lnTo>
                  <a:lnTo>
                    <a:pt x="781080" y="456375"/>
                  </a:lnTo>
                  <a:lnTo>
                    <a:pt x="781080" y="257558"/>
                  </a:lnTo>
                  <a:cubicBezTo>
                    <a:pt x="781080" y="240129"/>
                    <a:pt x="779146" y="222701"/>
                    <a:pt x="768835" y="209790"/>
                  </a:cubicBezTo>
                  <a:cubicBezTo>
                    <a:pt x="759813" y="198171"/>
                    <a:pt x="745635" y="191071"/>
                    <a:pt x="727590" y="191071"/>
                  </a:cubicBezTo>
                  <a:cubicBezTo>
                    <a:pt x="705034" y="191071"/>
                    <a:pt x="681189" y="204626"/>
                    <a:pt x="668300" y="220119"/>
                  </a:cubicBezTo>
                  <a:close/>
                  <a:moveTo>
                    <a:pt x="53490" y="107154"/>
                  </a:moveTo>
                  <a:cubicBezTo>
                    <a:pt x="83135" y="107154"/>
                    <a:pt x="106980" y="83271"/>
                    <a:pt x="106980" y="53577"/>
                  </a:cubicBezTo>
                  <a:cubicBezTo>
                    <a:pt x="106980" y="23884"/>
                    <a:pt x="83135" y="0"/>
                    <a:pt x="53490" y="0"/>
                  </a:cubicBezTo>
                  <a:cubicBezTo>
                    <a:pt x="23845" y="0"/>
                    <a:pt x="0" y="23884"/>
                    <a:pt x="0" y="53577"/>
                  </a:cubicBezTo>
                  <a:cubicBezTo>
                    <a:pt x="0" y="83271"/>
                    <a:pt x="23845" y="107154"/>
                    <a:pt x="53490" y="107154"/>
                  </a:cubicBezTo>
                  <a:close/>
                  <a:moveTo>
                    <a:pt x="300316" y="457020"/>
                  </a:moveTo>
                  <a:lnTo>
                    <a:pt x="300316" y="257558"/>
                  </a:lnTo>
                  <a:cubicBezTo>
                    <a:pt x="300316" y="240129"/>
                    <a:pt x="298383" y="222701"/>
                    <a:pt x="288072" y="209790"/>
                  </a:cubicBezTo>
                  <a:cubicBezTo>
                    <a:pt x="279049" y="198171"/>
                    <a:pt x="264871" y="191071"/>
                    <a:pt x="246826" y="191071"/>
                  </a:cubicBezTo>
                  <a:cubicBezTo>
                    <a:pt x="223626" y="191071"/>
                    <a:pt x="199781" y="204626"/>
                    <a:pt x="186892" y="220119"/>
                  </a:cubicBezTo>
                  <a:cubicBezTo>
                    <a:pt x="186248" y="206563"/>
                    <a:pt x="181736" y="193653"/>
                    <a:pt x="180447" y="189134"/>
                  </a:cubicBezTo>
                  <a:lnTo>
                    <a:pt x="134047" y="202044"/>
                  </a:lnTo>
                  <a:cubicBezTo>
                    <a:pt x="136625" y="216245"/>
                    <a:pt x="140491" y="233674"/>
                    <a:pt x="140491" y="265304"/>
                  </a:cubicBezTo>
                  <a:lnTo>
                    <a:pt x="140491" y="457020"/>
                  </a:lnTo>
                  <a:lnTo>
                    <a:pt x="190759" y="457020"/>
                  </a:lnTo>
                  <a:lnTo>
                    <a:pt x="190759" y="263368"/>
                  </a:lnTo>
                  <a:cubicBezTo>
                    <a:pt x="203003" y="248521"/>
                    <a:pt x="217181" y="240129"/>
                    <a:pt x="227493" y="240129"/>
                  </a:cubicBezTo>
                  <a:cubicBezTo>
                    <a:pt x="233937" y="240129"/>
                    <a:pt x="240382" y="241420"/>
                    <a:pt x="244249" y="246584"/>
                  </a:cubicBezTo>
                  <a:cubicBezTo>
                    <a:pt x="248115" y="252394"/>
                    <a:pt x="250049" y="260786"/>
                    <a:pt x="250049" y="280796"/>
                  </a:cubicBezTo>
                  <a:lnTo>
                    <a:pt x="250049" y="457020"/>
                  </a:lnTo>
                  <a:lnTo>
                    <a:pt x="300316" y="457020"/>
                  </a:lnTo>
                  <a:close/>
                  <a:moveTo>
                    <a:pt x="531676" y="92953"/>
                  </a:moveTo>
                  <a:cubicBezTo>
                    <a:pt x="512986" y="92953"/>
                    <a:pt x="498164" y="107800"/>
                    <a:pt x="498164" y="126520"/>
                  </a:cubicBezTo>
                  <a:cubicBezTo>
                    <a:pt x="498164" y="145240"/>
                    <a:pt x="512986" y="160086"/>
                    <a:pt x="531031" y="160086"/>
                  </a:cubicBezTo>
                  <a:cubicBezTo>
                    <a:pt x="549720" y="160086"/>
                    <a:pt x="564543" y="145240"/>
                    <a:pt x="564543" y="126520"/>
                  </a:cubicBezTo>
                  <a:cubicBezTo>
                    <a:pt x="564543" y="107800"/>
                    <a:pt x="549720" y="92953"/>
                    <a:pt x="531676" y="92953"/>
                  </a:cubicBezTo>
                  <a:close/>
                  <a:moveTo>
                    <a:pt x="29645" y="457020"/>
                  </a:moveTo>
                  <a:lnTo>
                    <a:pt x="79912" y="457020"/>
                  </a:lnTo>
                  <a:lnTo>
                    <a:pt x="79912" y="142657"/>
                  </a:lnTo>
                  <a:lnTo>
                    <a:pt x="29645" y="149113"/>
                  </a:lnTo>
                  <a:lnTo>
                    <a:pt x="29645" y="457020"/>
                  </a:lnTo>
                  <a:close/>
                  <a:moveTo>
                    <a:pt x="440163" y="123938"/>
                  </a:moveTo>
                  <a:cubicBezTo>
                    <a:pt x="449185" y="123938"/>
                    <a:pt x="458208" y="127165"/>
                    <a:pt x="464008" y="131684"/>
                  </a:cubicBezTo>
                  <a:lnTo>
                    <a:pt x="478186" y="92308"/>
                  </a:lnTo>
                  <a:cubicBezTo>
                    <a:pt x="464652" y="82625"/>
                    <a:pt x="449830" y="78107"/>
                    <a:pt x="431141" y="78107"/>
                  </a:cubicBezTo>
                  <a:cubicBezTo>
                    <a:pt x="418252" y="78107"/>
                    <a:pt x="404718" y="81334"/>
                    <a:pt x="392473" y="91017"/>
                  </a:cubicBezTo>
                  <a:cubicBezTo>
                    <a:pt x="380229" y="101345"/>
                    <a:pt x="367340" y="122001"/>
                    <a:pt x="367340" y="160732"/>
                  </a:cubicBezTo>
                  <a:cubicBezTo>
                    <a:pt x="367340" y="177515"/>
                    <a:pt x="367984" y="194944"/>
                    <a:pt x="367984" y="194944"/>
                  </a:cubicBezTo>
                  <a:lnTo>
                    <a:pt x="350584" y="194944"/>
                  </a:lnTo>
                  <a:lnTo>
                    <a:pt x="350584" y="239484"/>
                  </a:lnTo>
                  <a:lnTo>
                    <a:pt x="367984" y="239484"/>
                  </a:lnTo>
                  <a:lnTo>
                    <a:pt x="367984" y="456375"/>
                  </a:lnTo>
                  <a:lnTo>
                    <a:pt x="419540" y="456375"/>
                  </a:lnTo>
                  <a:lnTo>
                    <a:pt x="419540" y="240129"/>
                  </a:lnTo>
                  <a:lnTo>
                    <a:pt x="457563" y="240129"/>
                  </a:lnTo>
                  <a:lnTo>
                    <a:pt x="467230" y="195589"/>
                  </a:lnTo>
                  <a:lnTo>
                    <a:pt x="420185" y="195589"/>
                  </a:lnTo>
                  <a:lnTo>
                    <a:pt x="420185" y="155568"/>
                  </a:lnTo>
                  <a:cubicBezTo>
                    <a:pt x="420185" y="136202"/>
                    <a:pt x="427918" y="123938"/>
                    <a:pt x="440163" y="123938"/>
                  </a:cubicBezTo>
                  <a:close/>
                  <a:moveTo>
                    <a:pt x="505897" y="457020"/>
                  </a:moveTo>
                  <a:lnTo>
                    <a:pt x="556809" y="457020"/>
                  </a:lnTo>
                  <a:lnTo>
                    <a:pt x="556809" y="191071"/>
                  </a:lnTo>
                  <a:lnTo>
                    <a:pt x="505897" y="197526"/>
                  </a:lnTo>
                  <a:lnTo>
                    <a:pt x="505897" y="457020"/>
                  </a:lnTo>
                  <a:close/>
                </a:path>
              </a:pathLst>
            </a:custGeom>
            <a:solidFill>
              <a:srgbClr val="005DA9"/>
            </a:solidFill>
            <a:ln w="6439" cap="flat">
              <a:noFill/>
              <a:prstDash val="solid"/>
              <a:miter/>
            </a:ln>
          </p:spPr>
          <p:txBody>
            <a:bodyPr rtlCol="0" anchor="ctr"/>
            <a:lstStyle/>
            <a:p>
              <a:endParaRPr lang="en-US" sz="1800" baseline="0" noProof="0">
                <a:latin typeface="+mn-lt"/>
                <a:ea typeface="+mn-ea"/>
                <a:cs typeface="+mn-cs"/>
              </a:endParaRPr>
            </a:p>
          </p:txBody>
        </p:sp>
        <p:sp>
          <p:nvSpPr>
            <p:cNvPr id="14" name="Freeform: Shape 13">
              <a:extLst>
                <a:ext uri="{FF2B5EF4-FFF2-40B4-BE49-F238E27FC236}">
                  <a16:creationId xmlns:a16="http://schemas.microsoft.com/office/drawing/2014/main" id="{E26861E4-4C53-40F8-8225-0CFFDC5696CD}"/>
                </a:ext>
              </a:extLst>
            </p:cNvPr>
            <p:cNvSpPr/>
            <p:nvPr/>
          </p:nvSpPr>
          <p:spPr>
            <a:xfrm>
              <a:off x="9738355" y="5453433"/>
              <a:ext cx="1826386" cy="800518"/>
            </a:xfrm>
            <a:custGeom>
              <a:avLst/>
              <a:gdLst>
                <a:gd name="connsiteX0" fmla="*/ 1549915 w 1826386"/>
                <a:gd name="connsiteY0" fmla="*/ 674411 h 800518"/>
                <a:gd name="connsiteX1" fmla="*/ 970550 w 1826386"/>
                <a:gd name="connsiteY1" fmla="*/ 746708 h 800518"/>
                <a:gd name="connsiteX2" fmla="*/ 102468 w 1826386"/>
                <a:gd name="connsiteY2" fmla="*/ 396197 h 800518"/>
                <a:gd name="connsiteX3" fmla="*/ 250693 w 1826386"/>
                <a:gd name="connsiteY3" fmla="*/ 186406 h 800518"/>
                <a:gd name="connsiteX4" fmla="*/ 221693 w 1826386"/>
                <a:gd name="connsiteY4" fmla="*/ 129602 h 800518"/>
                <a:gd name="connsiteX5" fmla="*/ 0 w 1826386"/>
                <a:gd name="connsiteY5" fmla="*/ 402006 h 800518"/>
                <a:gd name="connsiteX6" fmla="*/ 975705 w 1826386"/>
                <a:gd name="connsiteY6" fmla="*/ 800285 h 800518"/>
                <a:gd name="connsiteX7" fmla="*/ 1501581 w 1826386"/>
                <a:gd name="connsiteY7" fmla="*/ 718306 h 800518"/>
                <a:gd name="connsiteX8" fmla="*/ 1826386 w 1826386"/>
                <a:gd name="connsiteY8" fmla="*/ 536272 h 800518"/>
                <a:gd name="connsiteX9" fmla="*/ 1549915 w 1826386"/>
                <a:gd name="connsiteY9" fmla="*/ 674411 h 800518"/>
                <a:gd name="connsiteX10" fmla="*/ 467875 w 1826386"/>
                <a:gd name="connsiteY10" fmla="*/ 88289 h 800518"/>
                <a:gd name="connsiteX11" fmla="*/ 550365 w 1826386"/>
                <a:gd name="connsiteY11" fmla="*/ 61823 h 800518"/>
                <a:gd name="connsiteX12" fmla="*/ 976350 w 1826386"/>
                <a:gd name="connsiteY12" fmla="*/ 3727 h 800518"/>
                <a:gd name="connsiteX13" fmla="*/ 540054 w 1826386"/>
                <a:gd name="connsiteY13" fmla="*/ 26966 h 800518"/>
                <a:gd name="connsiteX14" fmla="*/ 451763 w 1826386"/>
                <a:gd name="connsiteY14" fmla="*/ 45685 h 800518"/>
                <a:gd name="connsiteX15" fmla="*/ 416318 w 1826386"/>
                <a:gd name="connsiteY15" fmla="*/ 55368 h 800518"/>
                <a:gd name="connsiteX16" fmla="*/ 384095 w 1826386"/>
                <a:gd name="connsiteY16" fmla="*/ 64405 h 800518"/>
                <a:gd name="connsiteX17" fmla="*/ 345428 w 1826386"/>
                <a:gd name="connsiteY17" fmla="*/ 77315 h 800518"/>
                <a:gd name="connsiteX18" fmla="*/ 366695 w 1826386"/>
                <a:gd name="connsiteY18" fmla="*/ 126374 h 800518"/>
                <a:gd name="connsiteX19" fmla="*/ 467875 w 1826386"/>
                <a:gd name="connsiteY19" fmla="*/ 88289 h 800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26386" h="800518">
                  <a:moveTo>
                    <a:pt x="1549915" y="674411"/>
                  </a:moveTo>
                  <a:cubicBezTo>
                    <a:pt x="1379779" y="724761"/>
                    <a:pt x="1172909" y="746708"/>
                    <a:pt x="970550" y="746708"/>
                  </a:cubicBezTo>
                  <a:cubicBezTo>
                    <a:pt x="456919" y="746708"/>
                    <a:pt x="125669" y="595659"/>
                    <a:pt x="102468" y="396197"/>
                  </a:cubicBezTo>
                  <a:cubicBezTo>
                    <a:pt x="94090" y="321318"/>
                    <a:pt x="152736" y="248375"/>
                    <a:pt x="250693" y="186406"/>
                  </a:cubicBezTo>
                  <a:cubicBezTo>
                    <a:pt x="233293" y="173496"/>
                    <a:pt x="222337" y="152840"/>
                    <a:pt x="221693" y="129602"/>
                  </a:cubicBezTo>
                  <a:cubicBezTo>
                    <a:pt x="79912" y="204481"/>
                    <a:pt x="0" y="302598"/>
                    <a:pt x="0" y="402006"/>
                  </a:cubicBezTo>
                  <a:cubicBezTo>
                    <a:pt x="0" y="622125"/>
                    <a:pt x="392473" y="808031"/>
                    <a:pt x="975705" y="800285"/>
                  </a:cubicBezTo>
                  <a:cubicBezTo>
                    <a:pt x="1178709" y="797703"/>
                    <a:pt x="1348200" y="768655"/>
                    <a:pt x="1501581" y="718306"/>
                  </a:cubicBezTo>
                  <a:cubicBezTo>
                    <a:pt x="1683962" y="658919"/>
                    <a:pt x="1798675" y="573712"/>
                    <a:pt x="1826386" y="536272"/>
                  </a:cubicBezTo>
                  <a:cubicBezTo>
                    <a:pt x="1793519" y="565966"/>
                    <a:pt x="1715540" y="625352"/>
                    <a:pt x="1549915" y="674411"/>
                  </a:cubicBezTo>
                  <a:close/>
                  <a:moveTo>
                    <a:pt x="467875" y="88289"/>
                  </a:moveTo>
                  <a:cubicBezTo>
                    <a:pt x="502031" y="76670"/>
                    <a:pt x="550365" y="61823"/>
                    <a:pt x="550365" y="61823"/>
                  </a:cubicBezTo>
                  <a:cubicBezTo>
                    <a:pt x="686345" y="24384"/>
                    <a:pt x="836503" y="2436"/>
                    <a:pt x="976350" y="3727"/>
                  </a:cubicBezTo>
                  <a:cubicBezTo>
                    <a:pt x="815236" y="-5955"/>
                    <a:pt x="668300" y="3727"/>
                    <a:pt x="540054" y="26966"/>
                  </a:cubicBezTo>
                  <a:cubicBezTo>
                    <a:pt x="540054" y="26966"/>
                    <a:pt x="497519" y="34066"/>
                    <a:pt x="451763" y="45685"/>
                  </a:cubicBezTo>
                  <a:cubicBezTo>
                    <a:pt x="451763" y="45685"/>
                    <a:pt x="429852" y="51495"/>
                    <a:pt x="416318" y="55368"/>
                  </a:cubicBezTo>
                  <a:cubicBezTo>
                    <a:pt x="402785" y="59241"/>
                    <a:pt x="384095" y="64405"/>
                    <a:pt x="384095" y="64405"/>
                  </a:cubicBezTo>
                  <a:cubicBezTo>
                    <a:pt x="371206" y="68278"/>
                    <a:pt x="358317" y="72797"/>
                    <a:pt x="345428" y="77315"/>
                  </a:cubicBezTo>
                  <a:cubicBezTo>
                    <a:pt x="358317" y="90225"/>
                    <a:pt x="366051" y="107009"/>
                    <a:pt x="366695" y="126374"/>
                  </a:cubicBezTo>
                  <a:cubicBezTo>
                    <a:pt x="389251" y="116046"/>
                    <a:pt x="432429" y="100554"/>
                    <a:pt x="467875" y="88289"/>
                  </a:cubicBezTo>
                  <a:close/>
                </a:path>
              </a:pathLst>
            </a:custGeom>
            <a:solidFill>
              <a:srgbClr val="E30034"/>
            </a:solidFill>
            <a:ln w="6439" cap="flat">
              <a:noFill/>
              <a:prstDash val="solid"/>
              <a:miter/>
            </a:ln>
          </p:spPr>
          <p:txBody>
            <a:bodyPr rtlCol="0" anchor="ctr"/>
            <a:lstStyle/>
            <a:p>
              <a:endParaRPr lang="en-US" sz="1800" baseline="0" noProof="0">
                <a:latin typeface="+mn-lt"/>
                <a:ea typeface="+mn-ea"/>
                <a:cs typeface="+mn-cs"/>
              </a:endParaRPr>
            </a:p>
          </p:txBody>
        </p:sp>
      </p:grpSp>
      <p:sp>
        <p:nvSpPr>
          <p:cNvPr id="6" name="MIO_AGENDA_IGNORE_NAVIGATION" hidden="1">
            <a:extLst>
              <a:ext uri="{FF2B5EF4-FFF2-40B4-BE49-F238E27FC236}">
                <a16:creationId xmlns:a16="http://schemas.microsoft.com/office/drawing/2014/main" id="{E1EDD075-E4C7-4D42-B9EA-266CAA36278B}"/>
              </a:ext>
            </a:extLst>
          </p:cNvPr>
          <p:cNvSpPr/>
          <p:nvPr/>
        </p:nvSpPr>
        <p:spPr bwMode="auto">
          <a:xfrm>
            <a:off x="8874822" y="87474"/>
            <a:ext cx="162018" cy="162018"/>
          </a:xfrm>
          <a:prstGeom prst="noSmoking">
            <a:avLst/>
          </a:prstGeom>
          <a:solidFill>
            <a:schemeClr val="accent4"/>
          </a:solidFill>
          <a:ln w="9525">
            <a:noFill/>
            <a:miter lim="800000"/>
            <a:headEnd/>
            <a:tailEnd/>
          </a:ln>
        </p:spPr>
        <p:txBody>
          <a:bodyPr wrap="square" lIns="54000" tIns="54000" rIns="54000" bIns="54000" rtlCol="0" anchor="ctr"/>
          <a:lstStyle/>
          <a:p>
            <a:pPr algn="ctr" eaLnBrk="0" hangingPunct="0"/>
            <a:endParaRPr lang="en-US" sz="1200" baseline="0" noProof="0">
              <a:latin typeface="+mn-lt"/>
              <a:ea typeface="+mn-ea"/>
              <a:cs typeface="+mn-cs"/>
            </a:endParaRPr>
          </a:p>
        </p:txBody>
      </p:sp>
      <p:sp>
        <p:nvSpPr>
          <p:cNvPr id="15" name="MIO_AGENDA_IGNORE_CHAPTER_REFERENCE" hidden="1">
            <a:extLst>
              <a:ext uri="{FF2B5EF4-FFF2-40B4-BE49-F238E27FC236}">
                <a16:creationId xmlns:a16="http://schemas.microsoft.com/office/drawing/2014/main" id="{69714F47-DD62-4063-BF75-AE10B75ACD2F}"/>
              </a:ext>
            </a:extLst>
          </p:cNvPr>
          <p:cNvSpPr/>
          <p:nvPr/>
        </p:nvSpPr>
        <p:spPr bwMode="auto">
          <a:xfrm>
            <a:off x="8874822" y="87474"/>
            <a:ext cx="162018" cy="162018"/>
          </a:xfrm>
          <a:prstGeom prst="noSmoking">
            <a:avLst/>
          </a:prstGeom>
          <a:solidFill>
            <a:schemeClr val="accent4"/>
          </a:solidFill>
          <a:ln w="9525">
            <a:noFill/>
            <a:miter lim="800000"/>
            <a:headEnd/>
            <a:tailEnd/>
          </a:ln>
        </p:spPr>
        <p:txBody>
          <a:bodyPr wrap="square" lIns="54000" tIns="54000" rIns="54000" bIns="54000" rtlCol="0" anchor="ctr"/>
          <a:lstStyle/>
          <a:p>
            <a:pPr algn="ctr" eaLnBrk="0" hangingPunct="0"/>
            <a:endParaRPr lang="en-US" sz="1200" baseline="0" noProof="0">
              <a:latin typeface="+mn-lt"/>
              <a:ea typeface="+mn-ea"/>
              <a:cs typeface="+mn-cs"/>
            </a:endParaRPr>
          </a:p>
        </p:txBody>
      </p:sp>
      <p:sp>
        <p:nvSpPr>
          <p:cNvPr id="11" name="Date Placeholder 10">
            <a:extLst>
              <a:ext uri="{FF2B5EF4-FFF2-40B4-BE49-F238E27FC236}">
                <a16:creationId xmlns:a16="http://schemas.microsoft.com/office/drawing/2014/main" id="{C4801112-C226-4D1B-8109-89A1EA6E6950}"/>
              </a:ext>
            </a:extLst>
          </p:cNvPr>
          <p:cNvSpPr>
            <a:spLocks noGrp="1"/>
          </p:cNvSpPr>
          <p:nvPr>
            <p:ph type="dt" sz="half" idx="15"/>
          </p:nvPr>
        </p:nvSpPr>
        <p:spPr/>
        <p:txBody>
          <a:bodyPr/>
          <a:lstStyle/>
          <a:p>
            <a:endParaRPr lang="en-US" b="1" dirty="0"/>
          </a:p>
        </p:txBody>
      </p:sp>
      <p:sp>
        <p:nvSpPr>
          <p:cNvPr id="17" name="Footer Placeholder 16">
            <a:extLst>
              <a:ext uri="{FF2B5EF4-FFF2-40B4-BE49-F238E27FC236}">
                <a16:creationId xmlns:a16="http://schemas.microsoft.com/office/drawing/2014/main" id="{4A132925-95FA-4753-A3A8-100A8B4A5840}"/>
              </a:ext>
            </a:extLst>
          </p:cNvPr>
          <p:cNvSpPr>
            <a:spLocks noGrp="1"/>
          </p:cNvSpPr>
          <p:nvPr>
            <p:ph type="ftr" sz="quarter" idx="16"/>
          </p:nvPr>
        </p:nvSpPr>
        <p:spPr/>
        <p:txBody>
          <a:bodyPr/>
          <a:lstStyle/>
          <a:p>
            <a:endParaRPr lang="en-US" dirty="0"/>
          </a:p>
        </p:txBody>
      </p:sp>
      <p:sp>
        <p:nvSpPr>
          <p:cNvPr id="18" name="Slide Number Placeholder 17" hidden="1">
            <a:extLst>
              <a:ext uri="{FF2B5EF4-FFF2-40B4-BE49-F238E27FC236}">
                <a16:creationId xmlns:a16="http://schemas.microsoft.com/office/drawing/2014/main" id="{90BC69B8-D726-4EBC-AE1A-053251677C8B}"/>
              </a:ext>
            </a:extLst>
          </p:cNvPr>
          <p:cNvSpPr>
            <a:spLocks noGrp="1"/>
          </p:cNvSpPr>
          <p:nvPr>
            <p:ph type="sldNum" sz="quarter" idx="17"/>
          </p:nvPr>
        </p:nvSpPr>
        <p:spPr/>
        <p:txBody>
          <a:bodyPr/>
          <a:lstStyle/>
          <a:p>
            <a:r>
              <a:rPr lang="en-US"/>
              <a:t> </a:t>
            </a:r>
            <a:endParaRPr lang="en-US" dirty="0"/>
          </a:p>
        </p:txBody>
      </p:sp>
    </p:spTree>
    <p:extLst>
      <p:ext uri="{BB962C8B-B14F-4D97-AF65-F5344CB8AC3E}">
        <p14:creationId xmlns:p14="http://schemas.microsoft.com/office/powerpoint/2010/main" val="4255036950"/>
      </p:ext>
    </p:extLst>
  </p:cSld>
  <p:clrMapOvr>
    <a:masterClrMapping/>
  </p:clrMapOvr>
  <p:hf hdr="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Tx" preserve="1">
  <p:cSld name="IFX_PresentationTitle_3">
    <p:bg>
      <p:bgPr>
        <a:solidFill>
          <a:schemeClr val="bg1"/>
        </a:solidFill>
        <a:effectLst/>
      </p:bgPr>
    </p:bg>
    <p:spTree>
      <p:nvGrpSpPr>
        <p:cNvPr id="1" name=""/>
        <p:cNvGrpSpPr/>
        <p:nvPr/>
      </p:nvGrpSpPr>
      <p:grpSpPr>
        <a:xfrm>
          <a:off x="0" y="0"/>
          <a:ext cx="0" cy="0"/>
          <a:chOff x="0" y="0"/>
          <a:chExt cx="0" cy="0"/>
        </a:xfrm>
      </p:grpSpPr>
      <p:sp>
        <p:nvSpPr>
          <p:cNvPr id="5" name="LOGO PROTECTION" hidden="1">
            <a:extLst>
              <a:ext uri="{FF2B5EF4-FFF2-40B4-BE49-F238E27FC236}">
                <a16:creationId xmlns:a16="http://schemas.microsoft.com/office/drawing/2014/main" id="{1AFC5FC0-8899-46D7-81F3-E691DED69C5B}"/>
              </a:ext>
            </a:extLst>
          </p:cNvPr>
          <p:cNvSpPr/>
          <p:nvPr>
            <p:custDataLst>
              <p:tags r:id="rId1"/>
            </p:custDataLst>
          </p:nvPr>
        </p:nvSpPr>
        <p:spPr bwMode="auto">
          <a:xfrm>
            <a:off x="7218294" y="4002910"/>
            <a:ext cx="1545538" cy="837092"/>
          </a:xfrm>
          <a:prstGeom prst="rect">
            <a:avLst/>
          </a:prstGeom>
          <a:solidFill>
            <a:schemeClr val="accent3">
              <a:alpha val="50000"/>
            </a:schemeClr>
          </a:solidFill>
          <a:ln w="9525">
            <a:noFill/>
            <a:miter lim="800000"/>
            <a:headEnd/>
            <a:tailEnd/>
          </a:ln>
        </p:spPr>
        <p:txBody>
          <a:bodyPr wrap="square" lIns="54000" tIns="54000" rIns="54000" bIns="54000" rtlCol="0" anchor="ctr"/>
          <a:lstStyle/>
          <a:p>
            <a:pPr algn="ctr" eaLnBrk="0" hangingPunct="0"/>
            <a:endParaRPr lang="en-US" sz="1200" baseline="0" noProof="0">
              <a:latin typeface="+mn-lt"/>
              <a:ea typeface="+mn-ea"/>
              <a:cs typeface="+mn-cs"/>
            </a:endParaRPr>
          </a:p>
        </p:txBody>
      </p:sp>
      <p:sp>
        <p:nvSpPr>
          <p:cNvPr id="6" name="Background White">
            <a:extLst>
              <a:ext uri="{FF2B5EF4-FFF2-40B4-BE49-F238E27FC236}">
                <a16:creationId xmlns:a16="http://schemas.microsoft.com/office/drawing/2014/main" id="{11199FE4-A164-44CF-AA03-877B11877F50}"/>
              </a:ext>
            </a:extLst>
          </p:cNvPr>
          <p:cNvSpPr/>
          <p:nvPr/>
        </p:nvSpPr>
        <p:spPr bwMode="auto">
          <a:xfrm>
            <a:off x="0" y="0"/>
            <a:ext cx="9144900" cy="5143500"/>
          </a:xfrm>
          <a:prstGeom prst="rect">
            <a:avLst/>
          </a:prstGeom>
          <a:solidFill>
            <a:schemeClr val="bg1"/>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23" name="Picture Placeholder 22">
            <a:extLst>
              <a:ext uri="{FF2B5EF4-FFF2-40B4-BE49-F238E27FC236}">
                <a16:creationId xmlns:a16="http://schemas.microsoft.com/office/drawing/2014/main" id="{FAA4B13D-C5E4-4396-AE89-5B44F620D20C}"/>
              </a:ext>
            </a:extLst>
          </p:cNvPr>
          <p:cNvSpPr>
            <a:spLocks noGrp="1"/>
          </p:cNvSpPr>
          <p:nvPr>
            <p:ph type="pic" sz="quarter" idx="20"/>
          </p:nvPr>
        </p:nvSpPr>
        <p:spPr>
          <a:xfrm>
            <a:off x="5888221" y="1"/>
            <a:ext cx="3258161" cy="2579795"/>
          </a:xfrm>
          <a:custGeom>
            <a:avLst/>
            <a:gdLst>
              <a:gd name="connsiteX0" fmla="*/ 575284 w 4344215"/>
              <a:gd name="connsiteY0" fmla="*/ 0 h 3439727"/>
              <a:gd name="connsiteX1" fmla="*/ 4344215 w 4344215"/>
              <a:gd name="connsiteY1" fmla="*/ 0 h 3439727"/>
              <a:gd name="connsiteX2" fmla="*/ 4344215 w 4344215"/>
              <a:gd name="connsiteY2" fmla="*/ 3291560 h 3439727"/>
              <a:gd name="connsiteX3" fmla="*/ 1425892 w 4344215"/>
              <a:gd name="connsiteY3" fmla="*/ 3439727 h 3439727"/>
              <a:gd name="connsiteX4" fmla="*/ 30731 w 4344215"/>
              <a:gd name="connsiteY4" fmla="*/ 1890244 h 3439727"/>
              <a:gd name="connsiteX5" fmla="*/ 44102 w 4344215"/>
              <a:gd name="connsiteY5" fmla="*/ 1870411 h 3439727"/>
              <a:gd name="connsiteX6" fmla="*/ 50043 w 4344215"/>
              <a:gd name="connsiteY6" fmla="*/ 1840984 h 3439727"/>
              <a:gd name="connsiteX7" fmla="*/ 3870 w 4344215"/>
              <a:gd name="connsiteY7" fmla="*/ 1771325 h 3439727"/>
              <a:gd name="connsiteX8" fmla="*/ 0 w 4344215"/>
              <a:gd name="connsiteY8" fmla="*/ 1770544 h 3439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44215" h="3439727">
                <a:moveTo>
                  <a:pt x="575284" y="0"/>
                </a:moveTo>
                <a:lnTo>
                  <a:pt x="4344215" y="0"/>
                </a:lnTo>
                <a:lnTo>
                  <a:pt x="4344215" y="3291560"/>
                </a:lnTo>
                <a:lnTo>
                  <a:pt x="1425892" y="3439727"/>
                </a:lnTo>
                <a:lnTo>
                  <a:pt x="30731" y="1890244"/>
                </a:lnTo>
                <a:lnTo>
                  <a:pt x="44102" y="1870411"/>
                </a:lnTo>
                <a:cubicBezTo>
                  <a:pt x="47928" y="1861366"/>
                  <a:pt x="50043" y="1851422"/>
                  <a:pt x="50043" y="1840984"/>
                </a:cubicBezTo>
                <a:cubicBezTo>
                  <a:pt x="50043" y="1809669"/>
                  <a:pt x="31004" y="1782802"/>
                  <a:pt x="3870" y="1771325"/>
                </a:cubicBezTo>
                <a:lnTo>
                  <a:pt x="0" y="1770544"/>
                </a:lnTo>
                <a:close/>
              </a:path>
            </a:pathLst>
          </a:custGeom>
          <a:solidFill>
            <a:schemeClr val="bg2"/>
          </a:solidFill>
        </p:spPr>
        <p:txBody>
          <a:bodyPr wrap="square" bIns="1008000" anchor="ctr" anchorCtr="1">
            <a:noAutofit/>
          </a:bodyPr>
          <a:lstStyle>
            <a:lvl1pPr>
              <a:buFontTx/>
              <a:buNone/>
              <a:defRPr sz="1200" baseline="0">
                <a:latin typeface="+mn-lt"/>
                <a:ea typeface="+mn-ea"/>
                <a:cs typeface="+mn-cs"/>
              </a:defRPr>
            </a:lvl1pPr>
          </a:lstStyle>
          <a:p>
            <a:r>
              <a:rPr lang="en-US" noProof="0"/>
              <a:t>Click icon to add picture</a:t>
            </a:r>
          </a:p>
        </p:txBody>
      </p:sp>
      <p:sp>
        <p:nvSpPr>
          <p:cNvPr id="30" name="Picture Placeholder 29">
            <a:extLst>
              <a:ext uri="{FF2B5EF4-FFF2-40B4-BE49-F238E27FC236}">
                <a16:creationId xmlns:a16="http://schemas.microsoft.com/office/drawing/2014/main" id="{D7FAA3EB-4EA2-4D79-807B-405B94E04154}"/>
              </a:ext>
            </a:extLst>
          </p:cNvPr>
          <p:cNvSpPr>
            <a:spLocks noGrp="1"/>
          </p:cNvSpPr>
          <p:nvPr>
            <p:ph type="pic" sz="quarter" idx="19"/>
          </p:nvPr>
        </p:nvSpPr>
        <p:spPr>
          <a:xfrm>
            <a:off x="2718671" y="1"/>
            <a:ext cx="4226718" cy="2767699"/>
          </a:xfrm>
          <a:custGeom>
            <a:avLst/>
            <a:gdLst>
              <a:gd name="connsiteX0" fmla="*/ 4142496 w 5635624"/>
              <a:gd name="connsiteY0" fmla="*/ 1887683 h 3690265"/>
              <a:gd name="connsiteX1" fmla="*/ 4147052 w 5635624"/>
              <a:gd name="connsiteY1" fmla="*/ 1894440 h 3690265"/>
              <a:gd name="connsiteX2" fmla="*/ 4200509 w 5635624"/>
              <a:gd name="connsiteY2" fmla="*/ 1916583 h 3690265"/>
              <a:gd name="connsiteX3" fmla="*/ 4229936 w 5635624"/>
              <a:gd name="connsiteY3" fmla="*/ 1910642 h 3690265"/>
              <a:gd name="connsiteX4" fmla="*/ 4232083 w 5635624"/>
              <a:gd name="connsiteY4" fmla="*/ 1909195 h 3690265"/>
              <a:gd name="connsiteX5" fmla="*/ 4247451 w 5635624"/>
              <a:gd name="connsiteY5" fmla="*/ 1898834 h 3690265"/>
              <a:gd name="connsiteX6" fmla="*/ 5635624 w 5635624"/>
              <a:gd name="connsiteY6" fmla="*/ 3440556 h 3690265"/>
              <a:gd name="connsiteX7" fmla="*/ 1825021 w 5635624"/>
              <a:gd name="connsiteY7" fmla="*/ 3634026 h 3690265"/>
              <a:gd name="connsiteX8" fmla="*/ 0 w 5635624"/>
              <a:gd name="connsiteY8" fmla="*/ 0 h 3690265"/>
              <a:gd name="connsiteX9" fmla="*/ 4787988 w 5635624"/>
              <a:gd name="connsiteY9" fmla="*/ 0 h 3690265"/>
              <a:gd name="connsiteX10" fmla="*/ 4213526 w 5635624"/>
              <a:gd name="connsiteY10" fmla="*/ 1768011 h 3690265"/>
              <a:gd name="connsiteX11" fmla="*/ 4200509 w 5635624"/>
              <a:gd name="connsiteY11" fmla="*/ 1765383 h 3690265"/>
              <a:gd name="connsiteX12" fmla="*/ 4124909 w 5635624"/>
              <a:gd name="connsiteY12" fmla="*/ 1840983 h 3690265"/>
              <a:gd name="connsiteX13" fmla="*/ 4130850 w 5635624"/>
              <a:gd name="connsiteY13" fmla="*/ 1870410 h 3690265"/>
              <a:gd name="connsiteX14" fmla="*/ 4135387 w 5635624"/>
              <a:gd name="connsiteY14" fmla="*/ 1877139 h 3690265"/>
              <a:gd name="connsiteX15" fmla="*/ 1802395 w 5635624"/>
              <a:gd name="connsiteY15" fmla="*/ 3635174 h 3690265"/>
              <a:gd name="connsiteX16" fmla="*/ 717315 w 5635624"/>
              <a:gd name="connsiteY16" fmla="*/ 3690265 h 3690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35624" h="3690265">
                <a:moveTo>
                  <a:pt x="4142496" y="1887683"/>
                </a:moveTo>
                <a:lnTo>
                  <a:pt x="4147052" y="1894440"/>
                </a:lnTo>
                <a:cubicBezTo>
                  <a:pt x="4160733" y="1908121"/>
                  <a:pt x="4179633" y="1916583"/>
                  <a:pt x="4200509" y="1916583"/>
                </a:cubicBezTo>
                <a:cubicBezTo>
                  <a:pt x="4210947" y="1916583"/>
                  <a:pt x="4220892" y="1914468"/>
                  <a:pt x="4229936" y="1910642"/>
                </a:cubicBezTo>
                <a:lnTo>
                  <a:pt x="4232083" y="1909195"/>
                </a:lnTo>
                <a:lnTo>
                  <a:pt x="4247451" y="1898834"/>
                </a:lnTo>
                <a:lnTo>
                  <a:pt x="5635624" y="3440556"/>
                </a:lnTo>
                <a:lnTo>
                  <a:pt x="1825021" y="3634026"/>
                </a:lnTo>
                <a:close/>
                <a:moveTo>
                  <a:pt x="0" y="0"/>
                </a:moveTo>
                <a:lnTo>
                  <a:pt x="4787988" y="0"/>
                </a:lnTo>
                <a:lnTo>
                  <a:pt x="4213526" y="1768011"/>
                </a:lnTo>
                <a:lnTo>
                  <a:pt x="4200509" y="1765383"/>
                </a:lnTo>
                <a:cubicBezTo>
                  <a:pt x="4158756" y="1765383"/>
                  <a:pt x="4124909" y="1799230"/>
                  <a:pt x="4124909" y="1840983"/>
                </a:cubicBezTo>
                <a:cubicBezTo>
                  <a:pt x="4124909" y="1851421"/>
                  <a:pt x="4127025" y="1861365"/>
                  <a:pt x="4130850" y="1870410"/>
                </a:cubicBezTo>
                <a:lnTo>
                  <a:pt x="4135387" y="1877139"/>
                </a:lnTo>
                <a:lnTo>
                  <a:pt x="1802395" y="3635174"/>
                </a:lnTo>
                <a:lnTo>
                  <a:pt x="717315" y="3690265"/>
                </a:lnTo>
                <a:close/>
              </a:path>
            </a:pathLst>
          </a:custGeom>
          <a:solidFill>
            <a:schemeClr val="bg2"/>
          </a:solidFill>
        </p:spPr>
        <p:txBody>
          <a:bodyPr wrap="square" bIns="1008000" anchor="ctr" anchorCtr="1">
            <a:noAutofit/>
          </a:bodyPr>
          <a:lstStyle>
            <a:lvl1pPr>
              <a:buFontTx/>
              <a:buNone/>
              <a:defRPr sz="1200" baseline="0">
                <a:latin typeface="+mn-lt"/>
                <a:ea typeface="+mn-ea"/>
                <a:cs typeface="+mn-cs"/>
              </a:defRPr>
            </a:lvl1pPr>
          </a:lstStyle>
          <a:p>
            <a:r>
              <a:rPr lang="en-US" noProof="0"/>
              <a:t>Click icon to add picture</a:t>
            </a:r>
            <a:endParaRPr lang="en-US" noProof="0" dirty="0"/>
          </a:p>
        </p:txBody>
      </p:sp>
      <p:sp>
        <p:nvSpPr>
          <p:cNvPr id="24" name="Picture Placeholder 23">
            <a:extLst>
              <a:ext uri="{FF2B5EF4-FFF2-40B4-BE49-F238E27FC236}">
                <a16:creationId xmlns:a16="http://schemas.microsoft.com/office/drawing/2014/main" id="{31EEC104-B33B-4D08-B54C-1059153CA59D}"/>
              </a:ext>
            </a:extLst>
          </p:cNvPr>
          <p:cNvSpPr>
            <a:spLocks noGrp="1"/>
          </p:cNvSpPr>
          <p:nvPr>
            <p:ph type="pic" sz="quarter" idx="18"/>
          </p:nvPr>
        </p:nvSpPr>
        <p:spPr>
          <a:xfrm>
            <a:off x="2" y="0"/>
            <a:ext cx="3248337" cy="2932864"/>
          </a:xfrm>
          <a:custGeom>
            <a:avLst/>
            <a:gdLst>
              <a:gd name="connsiteX0" fmla="*/ 0 w 4331116"/>
              <a:gd name="connsiteY0" fmla="*/ 0 h 3910485"/>
              <a:gd name="connsiteX1" fmla="*/ 3613691 w 4331116"/>
              <a:gd name="connsiteY1" fmla="*/ 0 h 3910485"/>
              <a:gd name="connsiteX2" fmla="*/ 4331116 w 4331116"/>
              <a:gd name="connsiteY2" fmla="*/ 3690829 h 3910485"/>
              <a:gd name="connsiteX3" fmla="*/ 4726 w 4331116"/>
              <a:gd name="connsiteY3" fmla="*/ 3910485 h 3910485"/>
              <a:gd name="connsiteX4" fmla="*/ 0 w 4331116"/>
              <a:gd name="connsiteY4" fmla="*/ 3910485 h 3910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1116" h="3910485">
                <a:moveTo>
                  <a:pt x="0" y="0"/>
                </a:moveTo>
                <a:lnTo>
                  <a:pt x="3613691" y="0"/>
                </a:lnTo>
                <a:lnTo>
                  <a:pt x="4331116" y="3690829"/>
                </a:lnTo>
                <a:lnTo>
                  <a:pt x="4726" y="3910485"/>
                </a:lnTo>
                <a:lnTo>
                  <a:pt x="0" y="3910485"/>
                </a:lnTo>
                <a:close/>
              </a:path>
            </a:pathLst>
          </a:custGeom>
          <a:solidFill>
            <a:schemeClr val="bg2"/>
          </a:solidFill>
        </p:spPr>
        <p:txBody>
          <a:bodyPr wrap="square" bIns="1008000" anchor="ctr" anchorCtr="1">
            <a:noAutofit/>
          </a:bodyPr>
          <a:lstStyle>
            <a:lvl1pPr>
              <a:buFontTx/>
              <a:buNone/>
              <a:defRPr sz="1200" baseline="0">
                <a:latin typeface="+mn-lt"/>
                <a:ea typeface="+mn-ea"/>
                <a:cs typeface="+mn-cs"/>
              </a:defRPr>
            </a:lvl1pPr>
          </a:lstStyle>
          <a:p>
            <a:r>
              <a:rPr lang="en-US" noProof="0"/>
              <a:t>Click icon to add picture</a:t>
            </a:r>
          </a:p>
        </p:txBody>
      </p:sp>
      <p:sp>
        <p:nvSpPr>
          <p:cNvPr id="19" name="Title">
            <a:extLst>
              <a:ext uri="{FF2B5EF4-FFF2-40B4-BE49-F238E27FC236}">
                <a16:creationId xmlns:a16="http://schemas.microsoft.com/office/drawing/2014/main" id="{6C91DFA2-3F65-4B14-A4D0-4B6032B03E63}"/>
              </a:ext>
            </a:extLst>
          </p:cNvPr>
          <p:cNvSpPr>
            <a:spLocks noGrp="1"/>
          </p:cNvSpPr>
          <p:nvPr>
            <p:ph type="title" hasCustomPrompt="1"/>
          </p:nvPr>
        </p:nvSpPr>
        <p:spPr>
          <a:xfrm>
            <a:off x="468001" y="3464100"/>
            <a:ext cx="8127000" cy="486000"/>
          </a:xfrm>
        </p:spPr>
        <p:txBody>
          <a:bodyPr anchor="b"/>
          <a:lstStyle>
            <a:lvl1pPr algn="l">
              <a:defRPr sz="2700" baseline="0">
                <a:latin typeface="+mj-lt"/>
                <a:ea typeface="+mj-ea"/>
                <a:cs typeface="+mj-cs"/>
              </a:defRPr>
            </a:lvl1pPr>
          </a:lstStyle>
          <a:p>
            <a:r>
              <a:rPr lang="en-US" noProof="0"/>
              <a:t>Please type in title</a:t>
            </a:r>
          </a:p>
        </p:txBody>
      </p:sp>
      <p:sp>
        <p:nvSpPr>
          <p:cNvPr id="52" name="Subtitle"/>
          <p:cNvSpPr>
            <a:spLocks noGrp="1"/>
          </p:cNvSpPr>
          <p:nvPr>
            <p:ph type="subTitle" idx="1" hasCustomPrompt="1"/>
          </p:nvPr>
        </p:nvSpPr>
        <p:spPr>
          <a:xfrm>
            <a:off x="468000" y="4247100"/>
            <a:ext cx="6210000" cy="459000"/>
          </a:xfrm>
          <a:prstGeom prst="rect">
            <a:avLst/>
          </a:prstGeom>
        </p:spPr>
        <p:txBody>
          <a:bodyPr vert="horz" wrap="square" lIns="0" tIns="0" rIns="0" bIns="0" rtlCol="0" anchor="b" anchorCtr="0">
            <a:noAutofit/>
          </a:bodyPr>
          <a:lstStyle>
            <a:lvl1pPr marL="0" indent="0" algn="l">
              <a:spcAft>
                <a:spcPts val="0"/>
              </a:spcAft>
              <a:buNone/>
              <a:defRPr lang="en-GB" sz="1500" baseline="0" noProof="0" dirty="0">
                <a:solidFill>
                  <a:schemeClr val="tx1"/>
                </a:solidFill>
                <a:latin typeface="+mn-lt"/>
                <a:ea typeface="+mn-ea"/>
                <a:cs typeface="+mn-cs"/>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pPr lvl="0"/>
            <a:r>
              <a:rPr lang="en-US" noProof="0"/>
              <a:t>Author (department)</a:t>
            </a:r>
            <a:br>
              <a:rPr lang="en-US" noProof="0"/>
            </a:br>
            <a:r>
              <a:rPr lang="en-US" noProof="0"/>
              <a:t>Date</a:t>
            </a:r>
          </a:p>
        </p:txBody>
      </p:sp>
      <p:sp>
        <p:nvSpPr>
          <p:cNvPr id="7" name="empower_classification_attention_placeholder" hidden="1">
            <a:extLst>
              <a:ext uri="{FF2B5EF4-FFF2-40B4-BE49-F238E27FC236}">
                <a16:creationId xmlns:a16="http://schemas.microsoft.com/office/drawing/2014/main" id="{BFD2749C-34D6-4E79-BBA4-4241F8134AE4}"/>
              </a:ext>
            </a:extLst>
          </p:cNvPr>
          <p:cNvSpPr txBox="1"/>
          <p:nvPr>
            <p:custDataLst>
              <p:tags r:id="rId2"/>
            </p:custDataLst>
          </p:nvPr>
        </p:nvSpPr>
        <p:spPr bwMode="auto">
          <a:xfrm>
            <a:off x="4058850" y="4876200"/>
            <a:ext cx="1026301" cy="216694"/>
          </a:xfrm>
          <a:prstGeom prst="rect">
            <a:avLst/>
          </a:prstGeom>
          <a:noFill/>
          <a:ln w="9525">
            <a:noFill/>
            <a:miter lim="800000"/>
            <a:headEnd/>
            <a:tailEnd/>
          </a:ln>
          <a:effectLst/>
        </p:spPr>
        <p:txBody>
          <a:bodyPr wrap="none" lIns="0" tIns="0" rIns="0" bIns="0" rtlCol="0" anchor="ctr" anchorCtr="0">
            <a:noAutofit/>
          </a:bodyPr>
          <a:lstStyle/>
          <a:p>
            <a:pPr marL="0" marR="0" indent="0" algn="ctr"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900" kern="0" baseline="0" noProof="0">
                <a:solidFill>
                  <a:srgbClr val="E30034"/>
                </a:solidFill>
                <a:latin typeface="+mn-lt"/>
                <a:ea typeface="+mn-ea"/>
                <a:cs typeface="+mn-cs"/>
              </a:rPr>
              <a:t>Restricted</a:t>
            </a:r>
          </a:p>
        </p:txBody>
      </p:sp>
      <p:sp>
        <p:nvSpPr>
          <p:cNvPr id="8" name="empower_classification_placeholder">
            <a:extLst>
              <a:ext uri="{FF2B5EF4-FFF2-40B4-BE49-F238E27FC236}">
                <a16:creationId xmlns:a16="http://schemas.microsoft.com/office/drawing/2014/main" id="{907AF50E-1583-452E-8849-A76F308B3479}"/>
              </a:ext>
            </a:extLst>
          </p:cNvPr>
          <p:cNvSpPr txBox="1"/>
          <p:nvPr>
            <p:custDataLst>
              <p:tags r:id="rId3"/>
            </p:custDataLst>
          </p:nvPr>
        </p:nvSpPr>
        <p:spPr bwMode="auto">
          <a:xfrm>
            <a:off x="4059000" y="4876200"/>
            <a:ext cx="1026000" cy="216694"/>
          </a:xfrm>
          <a:prstGeom prst="rect">
            <a:avLst/>
          </a:prstGeom>
          <a:noFill/>
          <a:ln w="9525">
            <a:noFill/>
            <a:miter lim="800000"/>
            <a:headEnd/>
            <a:tailEnd/>
          </a:ln>
          <a:effectLst/>
        </p:spPr>
        <p:txBody>
          <a:bodyPr wrap="none" lIns="0" tIns="0" rIns="0" bIns="0" rtlCol="0" anchor="ctr" anchorCtr="0">
            <a:noAutofit/>
          </a:bodyPr>
          <a:lstStyle/>
          <a:p>
            <a:pPr marL="0" marR="0" indent="0" algn="ctr"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900" kern="0" baseline="0" noProof="0">
                <a:solidFill>
                  <a:srgbClr val="928285"/>
                </a:solidFill>
                <a:latin typeface="+mn-lt"/>
                <a:ea typeface="+mn-ea"/>
                <a:cs typeface="+mn-cs"/>
              </a:rPr>
              <a:t>restricted</a:t>
            </a:r>
          </a:p>
        </p:txBody>
      </p:sp>
      <p:sp>
        <p:nvSpPr>
          <p:cNvPr id="9" name="empower_document_placeholder" hidden="1">
            <a:extLst>
              <a:ext uri="{FF2B5EF4-FFF2-40B4-BE49-F238E27FC236}">
                <a16:creationId xmlns:a16="http://schemas.microsoft.com/office/drawing/2014/main" id="{381C3FE7-5D2D-4422-B17C-1335687645D8}"/>
              </a:ext>
            </a:extLst>
          </p:cNvPr>
          <p:cNvSpPr txBox="1"/>
          <p:nvPr>
            <p:custDataLst>
              <p:tags r:id="rId4"/>
            </p:custDataLst>
          </p:nvPr>
        </p:nvSpPr>
        <p:spPr bwMode="auto">
          <a:xfrm>
            <a:off x="468001" y="4876200"/>
            <a:ext cx="2430065" cy="216694"/>
          </a:xfrm>
          <a:prstGeom prst="rect">
            <a:avLst/>
          </a:prstGeom>
          <a:noFill/>
          <a:ln w="9525">
            <a:noFill/>
            <a:miter lim="800000"/>
            <a:headEnd/>
            <a:tailEnd/>
          </a:ln>
          <a:effectLst/>
        </p:spPr>
        <p:txBody>
          <a:bodyPr wrap="none" lIns="0" tIns="0" rIns="0" bIns="0" rtlCol="0" anchor="ctr" anchorCtr="0">
            <a:noAutofit/>
          </a:bodyPr>
          <a:lstStyle/>
          <a:p>
            <a:pPr marL="0" marR="0" indent="0"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900" kern="0" baseline="0" noProof="0">
                <a:solidFill>
                  <a:srgbClr val="928285"/>
                </a:solidFill>
                <a:latin typeface="+mn-lt"/>
                <a:ea typeface="+mn-ea"/>
                <a:cs typeface="+mn-cs"/>
              </a:rPr>
              <a:t>[Owner:   Doc ID:   Vers.: ]</a:t>
            </a:r>
          </a:p>
        </p:txBody>
      </p:sp>
      <p:sp>
        <p:nvSpPr>
          <p:cNvPr id="21" name="empower_draft_placeholder" hidden="1">
            <a:extLst>
              <a:ext uri="{FF2B5EF4-FFF2-40B4-BE49-F238E27FC236}">
                <a16:creationId xmlns:a16="http://schemas.microsoft.com/office/drawing/2014/main" id="{28047F79-0D17-499E-93DF-8D4A0F6C0EBB}"/>
              </a:ext>
            </a:extLst>
          </p:cNvPr>
          <p:cNvSpPr txBox="1"/>
          <p:nvPr>
            <p:custDataLst>
              <p:tags r:id="rId5"/>
            </p:custDataLst>
          </p:nvPr>
        </p:nvSpPr>
        <p:spPr bwMode="auto">
          <a:xfrm>
            <a:off x="3262533" y="4875929"/>
            <a:ext cx="432000" cy="216000"/>
          </a:xfrm>
          <a:prstGeom prst="rect">
            <a:avLst/>
          </a:prstGeom>
          <a:noFill/>
          <a:ln w="9525">
            <a:noFill/>
            <a:miter lim="800000"/>
            <a:headEnd/>
            <a:tailEnd/>
          </a:ln>
          <a:effectLst/>
        </p:spPr>
        <p:txBody>
          <a:bodyPr wrap="none" lIns="0" tIns="0" rIns="0" bIns="0" rtlCol="0" anchor="ctr" anchorCtr="0">
            <a:noAutofit/>
          </a:bodyPr>
          <a:lstStyle/>
          <a:p>
            <a:pPr marL="0" marR="0" indent="0" algn="ctr"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900" kern="0" baseline="0" noProof="0">
                <a:solidFill>
                  <a:srgbClr val="928285"/>
                </a:solidFill>
                <a:latin typeface="+mn-lt"/>
                <a:ea typeface="+mn-ea"/>
                <a:cs typeface="+mn-cs"/>
              </a:rPr>
              <a:t>- DRAFT -</a:t>
            </a:r>
          </a:p>
        </p:txBody>
      </p:sp>
      <p:grpSp>
        <p:nvGrpSpPr>
          <p:cNvPr id="12" name="Logo">
            <a:extLst>
              <a:ext uri="{FF2B5EF4-FFF2-40B4-BE49-F238E27FC236}">
                <a16:creationId xmlns:a16="http://schemas.microsoft.com/office/drawing/2014/main" id="{D2E933FD-444A-48FB-B09D-535A3E31856D}"/>
              </a:ext>
            </a:extLst>
          </p:cNvPr>
          <p:cNvGrpSpPr/>
          <p:nvPr/>
        </p:nvGrpSpPr>
        <p:grpSpPr>
          <a:xfrm>
            <a:off x="7303767" y="4089967"/>
            <a:ext cx="1372690" cy="600323"/>
            <a:chOff x="9738355" y="5453288"/>
            <a:chExt cx="1830253" cy="800431"/>
          </a:xfrm>
        </p:grpSpPr>
        <p:sp>
          <p:nvSpPr>
            <p:cNvPr id="13" name="Freeform: Shape 12">
              <a:extLst>
                <a:ext uri="{FF2B5EF4-FFF2-40B4-BE49-F238E27FC236}">
                  <a16:creationId xmlns:a16="http://schemas.microsoft.com/office/drawing/2014/main" id="{7F0F64E4-3ECD-4DA7-9071-88422566879B}"/>
                </a:ext>
              </a:extLst>
            </p:cNvPr>
            <p:cNvSpPr/>
            <p:nvPr/>
          </p:nvSpPr>
          <p:spPr>
            <a:xfrm>
              <a:off x="9979381" y="5528812"/>
              <a:ext cx="1412001" cy="463475"/>
            </a:xfrm>
            <a:custGeom>
              <a:avLst/>
              <a:gdLst>
                <a:gd name="connsiteX0" fmla="*/ 1120063 w 1412001"/>
                <a:gd name="connsiteY0" fmla="*/ 463475 h 463475"/>
                <a:gd name="connsiteX1" fmla="*/ 1209643 w 1412001"/>
                <a:gd name="connsiteY1" fmla="*/ 324691 h 463475"/>
                <a:gd name="connsiteX2" fmla="*/ 1120063 w 1412001"/>
                <a:gd name="connsiteY2" fmla="*/ 189134 h 463475"/>
                <a:gd name="connsiteX3" fmla="*/ 1031773 w 1412001"/>
                <a:gd name="connsiteY3" fmla="*/ 325982 h 463475"/>
                <a:gd name="connsiteX4" fmla="*/ 1120063 w 1412001"/>
                <a:gd name="connsiteY4" fmla="*/ 463475 h 463475"/>
                <a:gd name="connsiteX5" fmla="*/ 1086552 w 1412001"/>
                <a:gd name="connsiteY5" fmla="*/ 324045 h 463475"/>
                <a:gd name="connsiteX6" fmla="*/ 1120063 w 1412001"/>
                <a:gd name="connsiteY6" fmla="*/ 235611 h 463475"/>
                <a:gd name="connsiteX7" fmla="*/ 1154864 w 1412001"/>
                <a:gd name="connsiteY7" fmla="*/ 325336 h 463475"/>
                <a:gd name="connsiteX8" fmla="*/ 1121352 w 1412001"/>
                <a:gd name="connsiteY8" fmla="*/ 418290 h 463475"/>
                <a:gd name="connsiteX9" fmla="*/ 1086552 w 1412001"/>
                <a:gd name="connsiteY9" fmla="*/ 324045 h 463475"/>
                <a:gd name="connsiteX10" fmla="*/ 921571 w 1412001"/>
                <a:gd name="connsiteY10" fmla="*/ 463475 h 463475"/>
                <a:gd name="connsiteX11" fmla="*/ 995683 w 1412001"/>
                <a:gd name="connsiteY11" fmla="*/ 428618 h 463475"/>
                <a:gd name="connsiteX12" fmla="*/ 975705 w 1412001"/>
                <a:gd name="connsiteY12" fmla="*/ 391178 h 463475"/>
                <a:gd name="connsiteX13" fmla="*/ 926082 w 1412001"/>
                <a:gd name="connsiteY13" fmla="*/ 416999 h 463475"/>
                <a:gd name="connsiteX14" fmla="*/ 889993 w 1412001"/>
                <a:gd name="connsiteY14" fmla="*/ 392469 h 463475"/>
                <a:gd name="connsiteX15" fmla="*/ 882259 w 1412001"/>
                <a:gd name="connsiteY15" fmla="*/ 346638 h 463475"/>
                <a:gd name="connsiteX16" fmla="*/ 882259 w 1412001"/>
                <a:gd name="connsiteY16" fmla="*/ 341474 h 463475"/>
                <a:gd name="connsiteX17" fmla="*/ 998261 w 1412001"/>
                <a:gd name="connsiteY17" fmla="*/ 341474 h 463475"/>
                <a:gd name="connsiteX18" fmla="*/ 998261 w 1412001"/>
                <a:gd name="connsiteY18" fmla="*/ 329855 h 463475"/>
                <a:gd name="connsiteX19" fmla="*/ 973127 w 1412001"/>
                <a:gd name="connsiteY19" fmla="*/ 216891 h 463475"/>
                <a:gd name="connsiteX20" fmla="*/ 915126 w 1412001"/>
                <a:gd name="connsiteY20" fmla="*/ 189134 h 463475"/>
                <a:gd name="connsiteX21" fmla="*/ 852614 w 1412001"/>
                <a:gd name="connsiteY21" fmla="*/ 223346 h 463475"/>
                <a:gd name="connsiteX22" fmla="*/ 828770 w 1412001"/>
                <a:gd name="connsiteY22" fmla="*/ 325982 h 463475"/>
                <a:gd name="connsiteX23" fmla="*/ 921571 w 1412001"/>
                <a:gd name="connsiteY23" fmla="*/ 463475 h 463475"/>
                <a:gd name="connsiteX24" fmla="*/ 915771 w 1412001"/>
                <a:gd name="connsiteY24" fmla="*/ 231738 h 463475"/>
                <a:gd name="connsiteX25" fmla="*/ 941549 w 1412001"/>
                <a:gd name="connsiteY25" fmla="*/ 250457 h 463475"/>
                <a:gd name="connsiteX26" fmla="*/ 947349 w 1412001"/>
                <a:gd name="connsiteY26" fmla="*/ 298871 h 463475"/>
                <a:gd name="connsiteX27" fmla="*/ 882259 w 1412001"/>
                <a:gd name="connsiteY27" fmla="*/ 298871 h 463475"/>
                <a:gd name="connsiteX28" fmla="*/ 915771 w 1412001"/>
                <a:gd name="connsiteY28" fmla="*/ 231738 h 463475"/>
                <a:gd name="connsiteX29" fmla="*/ 1252177 w 1412001"/>
                <a:gd name="connsiteY29" fmla="*/ 457020 h 463475"/>
                <a:gd name="connsiteX30" fmla="*/ 1302444 w 1412001"/>
                <a:gd name="connsiteY30" fmla="*/ 457020 h 463475"/>
                <a:gd name="connsiteX31" fmla="*/ 1302444 w 1412001"/>
                <a:gd name="connsiteY31" fmla="*/ 263368 h 463475"/>
                <a:gd name="connsiteX32" fmla="*/ 1339178 w 1412001"/>
                <a:gd name="connsiteY32" fmla="*/ 240129 h 463475"/>
                <a:gd name="connsiteX33" fmla="*/ 1355934 w 1412001"/>
                <a:gd name="connsiteY33" fmla="*/ 246584 h 463475"/>
                <a:gd name="connsiteX34" fmla="*/ 1361734 w 1412001"/>
                <a:gd name="connsiteY34" fmla="*/ 280796 h 463475"/>
                <a:gd name="connsiteX35" fmla="*/ 1361734 w 1412001"/>
                <a:gd name="connsiteY35" fmla="*/ 457020 h 463475"/>
                <a:gd name="connsiteX36" fmla="*/ 1412002 w 1412001"/>
                <a:gd name="connsiteY36" fmla="*/ 457020 h 463475"/>
                <a:gd name="connsiteX37" fmla="*/ 1412002 w 1412001"/>
                <a:gd name="connsiteY37" fmla="*/ 257558 h 463475"/>
                <a:gd name="connsiteX38" fmla="*/ 1399757 w 1412001"/>
                <a:gd name="connsiteY38" fmla="*/ 209790 h 463475"/>
                <a:gd name="connsiteX39" fmla="*/ 1358512 w 1412001"/>
                <a:gd name="connsiteY39" fmla="*/ 191071 h 463475"/>
                <a:gd name="connsiteX40" fmla="*/ 1298577 w 1412001"/>
                <a:gd name="connsiteY40" fmla="*/ 220119 h 463475"/>
                <a:gd name="connsiteX41" fmla="*/ 1292133 w 1412001"/>
                <a:gd name="connsiteY41" fmla="*/ 189134 h 463475"/>
                <a:gd name="connsiteX42" fmla="*/ 1245088 w 1412001"/>
                <a:gd name="connsiteY42" fmla="*/ 201399 h 463475"/>
                <a:gd name="connsiteX43" fmla="*/ 1251532 w 1412001"/>
                <a:gd name="connsiteY43" fmla="*/ 264659 h 463475"/>
                <a:gd name="connsiteX44" fmla="*/ 1251532 w 1412001"/>
                <a:gd name="connsiteY44" fmla="*/ 457020 h 463475"/>
                <a:gd name="connsiteX45" fmla="*/ 668300 w 1412001"/>
                <a:gd name="connsiteY45" fmla="*/ 220119 h 463475"/>
                <a:gd name="connsiteX46" fmla="*/ 661856 w 1412001"/>
                <a:gd name="connsiteY46" fmla="*/ 189134 h 463475"/>
                <a:gd name="connsiteX47" fmla="*/ 614810 w 1412001"/>
                <a:gd name="connsiteY47" fmla="*/ 201399 h 463475"/>
                <a:gd name="connsiteX48" fmla="*/ 621255 w 1412001"/>
                <a:gd name="connsiteY48" fmla="*/ 264659 h 463475"/>
                <a:gd name="connsiteX49" fmla="*/ 621255 w 1412001"/>
                <a:gd name="connsiteY49" fmla="*/ 456375 h 463475"/>
                <a:gd name="connsiteX50" fmla="*/ 671522 w 1412001"/>
                <a:gd name="connsiteY50" fmla="*/ 456375 h 463475"/>
                <a:gd name="connsiteX51" fmla="*/ 671522 w 1412001"/>
                <a:gd name="connsiteY51" fmla="*/ 262722 h 463475"/>
                <a:gd name="connsiteX52" fmla="*/ 708256 w 1412001"/>
                <a:gd name="connsiteY52" fmla="*/ 239484 h 463475"/>
                <a:gd name="connsiteX53" fmla="*/ 725012 w 1412001"/>
                <a:gd name="connsiteY53" fmla="*/ 245939 h 463475"/>
                <a:gd name="connsiteX54" fmla="*/ 730812 w 1412001"/>
                <a:gd name="connsiteY54" fmla="*/ 280151 h 463475"/>
                <a:gd name="connsiteX55" fmla="*/ 730812 w 1412001"/>
                <a:gd name="connsiteY55" fmla="*/ 456375 h 463475"/>
                <a:gd name="connsiteX56" fmla="*/ 781080 w 1412001"/>
                <a:gd name="connsiteY56" fmla="*/ 456375 h 463475"/>
                <a:gd name="connsiteX57" fmla="*/ 781080 w 1412001"/>
                <a:gd name="connsiteY57" fmla="*/ 257558 h 463475"/>
                <a:gd name="connsiteX58" fmla="*/ 768835 w 1412001"/>
                <a:gd name="connsiteY58" fmla="*/ 209790 h 463475"/>
                <a:gd name="connsiteX59" fmla="*/ 727590 w 1412001"/>
                <a:gd name="connsiteY59" fmla="*/ 191071 h 463475"/>
                <a:gd name="connsiteX60" fmla="*/ 668300 w 1412001"/>
                <a:gd name="connsiteY60" fmla="*/ 220119 h 463475"/>
                <a:gd name="connsiteX61" fmla="*/ 53490 w 1412001"/>
                <a:gd name="connsiteY61" fmla="*/ 107154 h 463475"/>
                <a:gd name="connsiteX62" fmla="*/ 106980 w 1412001"/>
                <a:gd name="connsiteY62" fmla="*/ 53577 h 463475"/>
                <a:gd name="connsiteX63" fmla="*/ 53490 w 1412001"/>
                <a:gd name="connsiteY63" fmla="*/ 0 h 463475"/>
                <a:gd name="connsiteX64" fmla="*/ 0 w 1412001"/>
                <a:gd name="connsiteY64" fmla="*/ 53577 h 463475"/>
                <a:gd name="connsiteX65" fmla="*/ 53490 w 1412001"/>
                <a:gd name="connsiteY65" fmla="*/ 107154 h 463475"/>
                <a:gd name="connsiteX66" fmla="*/ 300316 w 1412001"/>
                <a:gd name="connsiteY66" fmla="*/ 457020 h 463475"/>
                <a:gd name="connsiteX67" fmla="*/ 300316 w 1412001"/>
                <a:gd name="connsiteY67" fmla="*/ 257558 h 463475"/>
                <a:gd name="connsiteX68" fmla="*/ 288072 w 1412001"/>
                <a:gd name="connsiteY68" fmla="*/ 209790 h 463475"/>
                <a:gd name="connsiteX69" fmla="*/ 246826 w 1412001"/>
                <a:gd name="connsiteY69" fmla="*/ 191071 h 463475"/>
                <a:gd name="connsiteX70" fmla="*/ 186892 w 1412001"/>
                <a:gd name="connsiteY70" fmla="*/ 220119 h 463475"/>
                <a:gd name="connsiteX71" fmla="*/ 180447 w 1412001"/>
                <a:gd name="connsiteY71" fmla="*/ 189134 h 463475"/>
                <a:gd name="connsiteX72" fmla="*/ 134047 w 1412001"/>
                <a:gd name="connsiteY72" fmla="*/ 202044 h 463475"/>
                <a:gd name="connsiteX73" fmla="*/ 140491 w 1412001"/>
                <a:gd name="connsiteY73" fmla="*/ 265304 h 463475"/>
                <a:gd name="connsiteX74" fmla="*/ 140491 w 1412001"/>
                <a:gd name="connsiteY74" fmla="*/ 457020 h 463475"/>
                <a:gd name="connsiteX75" fmla="*/ 190759 w 1412001"/>
                <a:gd name="connsiteY75" fmla="*/ 457020 h 463475"/>
                <a:gd name="connsiteX76" fmla="*/ 190759 w 1412001"/>
                <a:gd name="connsiteY76" fmla="*/ 263368 h 463475"/>
                <a:gd name="connsiteX77" fmla="*/ 227493 w 1412001"/>
                <a:gd name="connsiteY77" fmla="*/ 240129 h 463475"/>
                <a:gd name="connsiteX78" fmla="*/ 244249 w 1412001"/>
                <a:gd name="connsiteY78" fmla="*/ 246584 h 463475"/>
                <a:gd name="connsiteX79" fmla="*/ 250049 w 1412001"/>
                <a:gd name="connsiteY79" fmla="*/ 280796 h 463475"/>
                <a:gd name="connsiteX80" fmla="*/ 250049 w 1412001"/>
                <a:gd name="connsiteY80" fmla="*/ 457020 h 463475"/>
                <a:gd name="connsiteX81" fmla="*/ 300316 w 1412001"/>
                <a:gd name="connsiteY81" fmla="*/ 457020 h 463475"/>
                <a:gd name="connsiteX82" fmla="*/ 531676 w 1412001"/>
                <a:gd name="connsiteY82" fmla="*/ 92953 h 463475"/>
                <a:gd name="connsiteX83" fmla="*/ 498164 w 1412001"/>
                <a:gd name="connsiteY83" fmla="*/ 126520 h 463475"/>
                <a:gd name="connsiteX84" fmla="*/ 531031 w 1412001"/>
                <a:gd name="connsiteY84" fmla="*/ 160086 h 463475"/>
                <a:gd name="connsiteX85" fmla="*/ 564543 w 1412001"/>
                <a:gd name="connsiteY85" fmla="*/ 126520 h 463475"/>
                <a:gd name="connsiteX86" fmla="*/ 531676 w 1412001"/>
                <a:gd name="connsiteY86" fmla="*/ 92953 h 463475"/>
                <a:gd name="connsiteX87" fmla="*/ 29645 w 1412001"/>
                <a:gd name="connsiteY87" fmla="*/ 457020 h 463475"/>
                <a:gd name="connsiteX88" fmla="*/ 79912 w 1412001"/>
                <a:gd name="connsiteY88" fmla="*/ 457020 h 463475"/>
                <a:gd name="connsiteX89" fmla="*/ 79912 w 1412001"/>
                <a:gd name="connsiteY89" fmla="*/ 142657 h 463475"/>
                <a:gd name="connsiteX90" fmla="*/ 29645 w 1412001"/>
                <a:gd name="connsiteY90" fmla="*/ 149113 h 463475"/>
                <a:gd name="connsiteX91" fmla="*/ 29645 w 1412001"/>
                <a:gd name="connsiteY91" fmla="*/ 457020 h 463475"/>
                <a:gd name="connsiteX92" fmla="*/ 440163 w 1412001"/>
                <a:gd name="connsiteY92" fmla="*/ 123938 h 463475"/>
                <a:gd name="connsiteX93" fmla="*/ 464008 w 1412001"/>
                <a:gd name="connsiteY93" fmla="*/ 131684 h 463475"/>
                <a:gd name="connsiteX94" fmla="*/ 478186 w 1412001"/>
                <a:gd name="connsiteY94" fmla="*/ 92308 h 463475"/>
                <a:gd name="connsiteX95" fmla="*/ 431141 w 1412001"/>
                <a:gd name="connsiteY95" fmla="*/ 78107 h 463475"/>
                <a:gd name="connsiteX96" fmla="*/ 392473 w 1412001"/>
                <a:gd name="connsiteY96" fmla="*/ 91017 h 463475"/>
                <a:gd name="connsiteX97" fmla="*/ 367340 w 1412001"/>
                <a:gd name="connsiteY97" fmla="*/ 160732 h 463475"/>
                <a:gd name="connsiteX98" fmla="*/ 367984 w 1412001"/>
                <a:gd name="connsiteY98" fmla="*/ 194944 h 463475"/>
                <a:gd name="connsiteX99" fmla="*/ 350584 w 1412001"/>
                <a:gd name="connsiteY99" fmla="*/ 194944 h 463475"/>
                <a:gd name="connsiteX100" fmla="*/ 350584 w 1412001"/>
                <a:gd name="connsiteY100" fmla="*/ 239484 h 463475"/>
                <a:gd name="connsiteX101" fmla="*/ 367984 w 1412001"/>
                <a:gd name="connsiteY101" fmla="*/ 239484 h 463475"/>
                <a:gd name="connsiteX102" fmla="*/ 367984 w 1412001"/>
                <a:gd name="connsiteY102" fmla="*/ 456375 h 463475"/>
                <a:gd name="connsiteX103" fmla="*/ 419540 w 1412001"/>
                <a:gd name="connsiteY103" fmla="*/ 456375 h 463475"/>
                <a:gd name="connsiteX104" fmla="*/ 419540 w 1412001"/>
                <a:gd name="connsiteY104" fmla="*/ 240129 h 463475"/>
                <a:gd name="connsiteX105" fmla="*/ 457563 w 1412001"/>
                <a:gd name="connsiteY105" fmla="*/ 240129 h 463475"/>
                <a:gd name="connsiteX106" fmla="*/ 467230 w 1412001"/>
                <a:gd name="connsiteY106" fmla="*/ 195589 h 463475"/>
                <a:gd name="connsiteX107" fmla="*/ 420185 w 1412001"/>
                <a:gd name="connsiteY107" fmla="*/ 195589 h 463475"/>
                <a:gd name="connsiteX108" fmla="*/ 420185 w 1412001"/>
                <a:gd name="connsiteY108" fmla="*/ 155568 h 463475"/>
                <a:gd name="connsiteX109" fmla="*/ 440163 w 1412001"/>
                <a:gd name="connsiteY109" fmla="*/ 123938 h 463475"/>
                <a:gd name="connsiteX110" fmla="*/ 505897 w 1412001"/>
                <a:gd name="connsiteY110" fmla="*/ 457020 h 463475"/>
                <a:gd name="connsiteX111" fmla="*/ 556809 w 1412001"/>
                <a:gd name="connsiteY111" fmla="*/ 457020 h 463475"/>
                <a:gd name="connsiteX112" fmla="*/ 556809 w 1412001"/>
                <a:gd name="connsiteY112" fmla="*/ 191071 h 463475"/>
                <a:gd name="connsiteX113" fmla="*/ 505897 w 1412001"/>
                <a:gd name="connsiteY113" fmla="*/ 197526 h 463475"/>
                <a:gd name="connsiteX114" fmla="*/ 505897 w 1412001"/>
                <a:gd name="connsiteY114" fmla="*/ 457020 h 46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1412001" h="463475">
                  <a:moveTo>
                    <a:pt x="1120063" y="463475"/>
                  </a:moveTo>
                  <a:cubicBezTo>
                    <a:pt x="1188376" y="463475"/>
                    <a:pt x="1209643" y="391178"/>
                    <a:pt x="1209643" y="324691"/>
                  </a:cubicBezTo>
                  <a:cubicBezTo>
                    <a:pt x="1209643" y="235611"/>
                    <a:pt x="1172264" y="189134"/>
                    <a:pt x="1120063" y="189134"/>
                  </a:cubicBezTo>
                  <a:cubicBezTo>
                    <a:pt x="1054329" y="189134"/>
                    <a:pt x="1031128" y="261431"/>
                    <a:pt x="1031773" y="325982"/>
                  </a:cubicBezTo>
                  <a:cubicBezTo>
                    <a:pt x="1032417" y="389887"/>
                    <a:pt x="1050462" y="463475"/>
                    <a:pt x="1120063" y="463475"/>
                  </a:cubicBezTo>
                  <a:close/>
                  <a:moveTo>
                    <a:pt x="1086552" y="324045"/>
                  </a:moveTo>
                  <a:cubicBezTo>
                    <a:pt x="1086552" y="297580"/>
                    <a:pt x="1086552" y="235611"/>
                    <a:pt x="1120063" y="235611"/>
                  </a:cubicBezTo>
                  <a:cubicBezTo>
                    <a:pt x="1156153" y="235611"/>
                    <a:pt x="1154864" y="296934"/>
                    <a:pt x="1154864" y="325336"/>
                  </a:cubicBezTo>
                  <a:cubicBezTo>
                    <a:pt x="1154864" y="352448"/>
                    <a:pt x="1154864" y="418290"/>
                    <a:pt x="1121352" y="418290"/>
                  </a:cubicBezTo>
                  <a:cubicBezTo>
                    <a:pt x="1085263" y="417644"/>
                    <a:pt x="1086552" y="351802"/>
                    <a:pt x="1086552" y="324045"/>
                  </a:cubicBezTo>
                  <a:close/>
                  <a:moveTo>
                    <a:pt x="921571" y="463475"/>
                  </a:moveTo>
                  <a:cubicBezTo>
                    <a:pt x="949283" y="463475"/>
                    <a:pt x="973127" y="452502"/>
                    <a:pt x="995683" y="428618"/>
                  </a:cubicBezTo>
                  <a:lnTo>
                    <a:pt x="975705" y="391178"/>
                  </a:lnTo>
                  <a:cubicBezTo>
                    <a:pt x="960238" y="407962"/>
                    <a:pt x="944771" y="416999"/>
                    <a:pt x="926082" y="416999"/>
                  </a:cubicBezTo>
                  <a:cubicBezTo>
                    <a:pt x="910615" y="416999"/>
                    <a:pt x="897726" y="407962"/>
                    <a:pt x="889993" y="392469"/>
                  </a:cubicBezTo>
                  <a:cubicBezTo>
                    <a:pt x="883548" y="378914"/>
                    <a:pt x="882259" y="363422"/>
                    <a:pt x="882259" y="346638"/>
                  </a:cubicBezTo>
                  <a:lnTo>
                    <a:pt x="882259" y="341474"/>
                  </a:lnTo>
                  <a:lnTo>
                    <a:pt x="998261" y="341474"/>
                  </a:lnTo>
                  <a:lnTo>
                    <a:pt x="998261" y="329855"/>
                  </a:lnTo>
                  <a:cubicBezTo>
                    <a:pt x="998261" y="272405"/>
                    <a:pt x="991172" y="240775"/>
                    <a:pt x="973127" y="216891"/>
                  </a:cubicBezTo>
                  <a:cubicBezTo>
                    <a:pt x="959594" y="198817"/>
                    <a:pt x="939616" y="189134"/>
                    <a:pt x="915126" y="189134"/>
                  </a:cubicBezTo>
                  <a:cubicBezTo>
                    <a:pt x="889348" y="189134"/>
                    <a:pt x="868081" y="200753"/>
                    <a:pt x="852614" y="223346"/>
                  </a:cubicBezTo>
                  <a:cubicBezTo>
                    <a:pt x="835859" y="247875"/>
                    <a:pt x="828770" y="280796"/>
                    <a:pt x="828770" y="325982"/>
                  </a:cubicBezTo>
                  <a:cubicBezTo>
                    <a:pt x="828125" y="412480"/>
                    <a:pt x="862281" y="463475"/>
                    <a:pt x="921571" y="463475"/>
                  </a:cubicBezTo>
                  <a:close/>
                  <a:moveTo>
                    <a:pt x="915771" y="231738"/>
                  </a:moveTo>
                  <a:cubicBezTo>
                    <a:pt x="928660" y="231738"/>
                    <a:pt x="936394" y="238838"/>
                    <a:pt x="941549" y="250457"/>
                  </a:cubicBezTo>
                  <a:cubicBezTo>
                    <a:pt x="945416" y="260786"/>
                    <a:pt x="947349" y="278214"/>
                    <a:pt x="947349" y="298871"/>
                  </a:cubicBezTo>
                  <a:lnTo>
                    <a:pt x="882259" y="298871"/>
                  </a:lnTo>
                  <a:cubicBezTo>
                    <a:pt x="882904" y="253039"/>
                    <a:pt x="892571" y="231738"/>
                    <a:pt x="915771" y="231738"/>
                  </a:cubicBezTo>
                  <a:close/>
                  <a:moveTo>
                    <a:pt x="1252177" y="457020"/>
                  </a:moveTo>
                  <a:lnTo>
                    <a:pt x="1302444" y="457020"/>
                  </a:lnTo>
                  <a:lnTo>
                    <a:pt x="1302444" y="263368"/>
                  </a:lnTo>
                  <a:cubicBezTo>
                    <a:pt x="1314689" y="248521"/>
                    <a:pt x="1328867" y="240129"/>
                    <a:pt x="1339178" y="240129"/>
                  </a:cubicBezTo>
                  <a:cubicBezTo>
                    <a:pt x="1345623" y="240129"/>
                    <a:pt x="1352067" y="241420"/>
                    <a:pt x="1355934" y="246584"/>
                  </a:cubicBezTo>
                  <a:cubicBezTo>
                    <a:pt x="1359801" y="252394"/>
                    <a:pt x="1361734" y="260786"/>
                    <a:pt x="1361734" y="280796"/>
                  </a:cubicBezTo>
                  <a:lnTo>
                    <a:pt x="1361734" y="457020"/>
                  </a:lnTo>
                  <a:lnTo>
                    <a:pt x="1412002" y="457020"/>
                  </a:lnTo>
                  <a:lnTo>
                    <a:pt x="1412002" y="257558"/>
                  </a:lnTo>
                  <a:cubicBezTo>
                    <a:pt x="1412002" y="240129"/>
                    <a:pt x="1410068" y="222701"/>
                    <a:pt x="1399757" y="209790"/>
                  </a:cubicBezTo>
                  <a:cubicBezTo>
                    <a:pt x="1390735" y="198171"/>
                    <a:pt x="1376557" y="191071"/>
                    <a:pt x="1358512" y="191071"/>
                  </a:cubicBezTo>
                  <a:cubicBezTo>
                    <a:pt x="1335311" y="191071"/>
                    <a:pt x="1311467" y="204626"/>
                    <a:pt x="1298577" y="220119"/>
                  </a:cubicBezTo>
                  <a:cubicBezTo>
                    <a:pt x="1297933" y="206563"/>
                    <a:pt x="1293422" y="193653"/>
                    <a:pt x="1292133" y="189134"/>
                  </a:cubicBezTo>
                  <a:lnTo>
                    <a:pt x="1245088" y="201399"/>
                  </a:lnTo>
                  <a:cubicBezTo>
                    <a:pt x="1247665" y="215600"/>
                    <a:pt x="1251532" y="233029"/>
                    <a:pt x="1251532" y="264659"/>
                  </a:cubicBezTo>
                  <a:lnTo>
                    <a:pt x="1251532" y="457020"/>
                  </a:lnTo>
                  <a:close/>
                  <a:moveTo>
                    <a:pt x="668300" y="220119"/>
                  </a:moveTo>
                  <a:cubicBezTo>
                    <a:pt x="667656" y="206563"/>
                    <a:pt x="663145" y="193653"/>
                    <a:pt x="661856" y="189134"/>
                  </a:cubicBezTo>
                  <a:lnTo>
                    <a:pt x="614810" y="201399"/>
                  </a:lnTo>
                  <a:cubicBezTo>
                    <a:pt x="617388" y="215600"/>
                    <a:pt x="621255" y="233029"/>
                    <a:pt x="621255" y="264659"/>
                  </a:cubicBezTo>
                  <a:lnTo>
                    <a:pt x="621255" y="456375"/>
                  </a:lnTo>
                  <a:lnTo>
                    <a:pt x="671522" y="456375"/>
                  </a:lnTo>
                  <a:lnTo>
                    <a:pt x="671522" y="262722"/>
                  </a:lnTo>
                  <a:cubicBezTo>
                    <a:pt x="683767" y="247875"/>
                    <a:pt x="697945" y="239484"/>
                    <a:pt x="708256" y="239484"/>
                  </a:cubicBezTo>
                  <a:cubicBezTo>
                    <a:pt x="714701" y="239484"/>
                    <a:pt x="721146" y="240775"/>
                    <a:pt x="725012" y="245939"/>
                  </a:cubicBezTo>
                  <a:cubicBezTo>
                    <a:pt x="728879" y="251748"/>
                    <a:pt x="730812" y="260140"/>
                    <a:pt x="730812" y="280151"/>
                  </a:cubicBezTo>
                  <a:lnTo>
                    <a:pt x="730812" y="456375"/>
                  </a:lnTo>
                  <a:lnTo>
                    <a:pt x="781080" y="456375"/>
                  </a:lnTo>
                  <a:lnTo>
                    <a:pt x="781080" y="257558"/>
                  </a:lnTo>
                  <a:cubicBezTo>
                    <a:pt x="781080" y="240129"/>
                    <a:pt x="779146" y="222701"/>
                    <a:pt x="768835" y="209790"/>
                  </a:cubicBezTo>
                  <a:cubicBezTo>
                    <a:pt x="759813" y="198171"/>
                    <a:pt x="745635" y="191071"/>
                    <a:pt x="727590" y="191071"/>
                  </a:cubicBezTo>
                  <a:cubicBezTo>
                    <a:pt x="705034" y="191071"/>
                    <a:pt x="681189" y="204626"/>
                    <a:pt x="668300" y="220119"/>
                  </a:cubicBezTo>
                  <a:close/>
                  <a:moveTo>
                    <a:pt x="53490" y="107154"/>
                  </a:moveTo>
                  <a:cubicBezTo>
                    <a:pt x="83135" y="107154"/>
                    <a:pt x="106980" y="83271"/>
                    <a:pt x="106980" y="53577"/>
                  </a:cubicBezTo>
                  <a:cubicBezTo>
                    <a:pt x="106980" y="23884"/>
                    <a:pt x="83135" y="0"/>
                    <a:pt x="53490" y="0"/>
                  </a:cubicBezTo>
                  <a:cubicBezTo>
                    <a:pt x="23845" y="0"/>
                    <a:pt x="0" y="23884"/>
                    <a:pt x="0" y="53577"/>
                  </a:cubicBezTo>
                  <a:cubicBezTo>
                    <a:pt x="0" y="83271"/>
                    <a:pt x="23845" y="107154"/>
                    <a:pt x="53490" y="107154"/>
                  </a:cubicBezTo>
                  <a:close/>
                  <a:moveTo>
                    <a:pt x="300316" y="457020"/>
                  </a:moveTo>
                  <a:lnTo>
                    <a:pt x="300316" y="257558"/>
                  </a:lnTo>
                  <a:cubicBezTo>
                    <a:pt x="300316" y="240129"/>
                    <a:pt x="298383" y="222701"/>
                    <a:pt x="288072" y="209790"/>
                  </a:cubicBezTo>
                  <a:cubicBezTo>
                    <a:pt x="279049" y="198171"/>
                    <a:pt x="264871" y="191071"/>
                    <a:pt x="246826" y="191071"/>
                  </a:cubicBezTo>
                  <a:cubicBezTo>
                    <a:pt x="223626" y="191071"/>
                    <a:pt x="199781" y="204626"/>
                    <a:pt x="186892" y="220119"/>
                  </a:cubicBezTo>
                  <a:cubicBezTo>
                    <a:pt x="186248" y="206563"/>
                    <a:pt x="181736" y="193653"/>
                    <a:pt x="180447" y="189134"/>
                  </a:cubicBezTo>
                  <a:lnTo>
                    <a:pt x="134047" y="202044"/>
                  </a:lnTo>
                  <a:cubicBezTo>
                    <a:pt x="136625" y="216245"/>
                    <a:pt x="140491" y="233674"/>
                    <a:pt x="140491" y="265304"/>
                  </a:cubicBezTo>
                  <a:lnTo>
                    <a:pt x="140491" y="457020"/>
                  </a:lnTo>
                  <a:lnTo>
                    <a:pt x="190759" y="457020"/>
                  </a:lnTo>
                  <a:lnTo>
                    <a:pt x="190759" y="263368"/>
                  </a:lnTo>
                  <a:cubicBezTo>
                    <a:pt x="203003" y="248521"/>
                    <a:pt x="217181" y="240129"/>
                    <a:pt x="227493" y="240129"/>
                  </a:cubicBezTo>
                  <a:cubicBezTo>
                    <a:pt x="233937" y="240129"/>
                    <a:pt x="240382" y="241420"/>
                    <a:pt x="244249" y="246584"/>
                  </a:cubicBezTo>
                  <a:cubicBezTo>
                    <a:pt x="248115" y="252394"/>
                    <a:pt x="250049" y="260786"/>
                    <a:pt x="250049" y="280796"/>
                  </a:cubicBezTo>
                  <a:lnTo>
                    <a:pt x="250049" y="457020"/>
                  </a:lnTo>
                  <a:lnTo>
                    <a:pt x="300316" y="457020"/>
                  </a:lnTo>
                  <a:close/>
                  <a:moveTo>
                    <a:pt x="531676" y="92953"/>
                  </a:moveTo>
                  <a:cubicBezTo>
                    <a:pt x="512986" y="92953"/>
                    <a:pt x="498164" y="107800"/>
                    <a:pt x="498164" y="126520"/>
                  </a:cubicBezTo>
                  <a:cubicBezTo>
                    <a:pt x="498164" y="145240"/>
                    <a:pt x="512986" y="160086"/>
                    <a:pt x="531031" y="160086"/>
                  </a:cubicBezTo>
                  <a:cubicBezTo>
                    <a:pt x="549720" y="160086"/>
                    <a:pt x="564543" y="145240"/>
                    <a:pt x="564543" y="126520"/>
                  </a:cubicBezTo>
                  <a:cubicBezTo>
                    <a:pt x="564543" y="107800"/>
                    <a:pt x="549720" y="92953"/>
                    <a:pt x="531676" y="92953"/>
                  </a:cubicBezTo>
                  <a:close/>
                  <a:moveTo>
                    <a:pt x="29645" y="457020"/>
                  </a:moveTo>
                  <a:lnTo>
                    <a:pt x="79912" y="457020"/>
                  </a:lnTo>
                  <a:lnTo>
                    <a:pt x="79912" y="142657"/>
                  </a:lnTo>
                  <a:lnTo>
                    <a:pt x="29645" y="149113"/>
                  </a:lnTo>
                  <a:lnTo>
                    <a:pt x="29645" y="457020"/>
                  </a:lnTo>
                  <a:close/>
                  <a:moveTo>
                    <a:pt x="440163" y="123938"/>
                  </a:moveTo>
                  <a:cubicBezTo>
                    <a:pt x="449185" y="123938"/>
                    <a:pt x="458208" y="127165"/>
                    <a:pt x="464008" y="131684"/>
                  </a:cubicBezTo>
                  <a:lnTo>
                    <a:pt x="478186" y="92308"/>
                  </a:lnTo>
                  <a:cubicBezTo>
                    <a:pt x="464652" y="82625"/>
                    <a:pt x="449830" y="78107"/>
                    <a:pt x="431141" y="78107"/>
                  </a:cubicBezTo>
                  <a:cubicBezTo>
                    <a:pt x="418252" y="78107"/>
                    <a:pt x="404718" y="81334"/>
                    <a:pt x="392473" y="91017"/>
                  </a:cubicBezTo>
                  <a:cubicBezTo>
                    <a:pt x="380229" y="101345"/>
                    <a:pt x="367340" y="122001"/>
                    <a:pt x="367340" y="160732"/>
                  </a:cubicBezTo>
                  <a:cubicBezTo>
                    <a:pt x="367340" y="177515"/>
                    <a:pt x="367984" y="194944"/>
                    <a:pt x="367984" y="194944"/>
                  </a:cubicBezTo>
                  <a:lnTo>
                    <a:pt x="350584" y="194944"/>
                  </a:lnTo>
                  <a:lnTo>
                    <a:pt x="350584" y="239484"/>
                  </a:lnTo>
                  <a:lnTo>
                    <a:pt x="367984" y="239484"/>
                  </a:lnTo>
                  <a:lnTo>
                    <a:pt x="367984" y="456375"/>
                  </a:lnTo>
                  <a:lnTo>
                    <a:pt x="419540" y="456375"/>
                  </a:lnTo>
                  <a:lnTo>
                    <a:pt x="419540" y="240129"/>
                  </a:lnTo>
                  <a:lnTo>
                    <a:pt x="457563" y="240129"/>
                  </a:lnTo>
                  <a:lnTo>
                    <a:pt x="467230" y="195589"/>
                  </a:lnTo>
                  <a:lnTo>
                    <a:pt x="420185" y="195589"/>
                  </a:lnTo>
                  <a:lnTo>
                    <a:pt x="420185" y="155568"/>
                  </a:lnTo>
                  <a:cubicBezTo>
                    <a:pt x="420185" y="136202"/>
                    <a:pt x="427918" y="123938"/>
                    <a:pt x="440163" y="123938"/>
                  </a:cubicBezTo>
                  <a:close/>
                  <a:moveTo>
                    <a:pt x="505897" y="457020"/>
                  </a:moveTo>
                  <a:lnTo>
                    <a:pt x="556809" y="457020"/>
                  </a:lnTo>
                  <a:lnTo>
                    <a:pt x="556809" y="191071"/>
                  </a:lnTo>
                  <a:lnTo>
                    <a:pt x="505897" y="197526"/>
                  </a:lnTo>
                  <a:lnTo>
                    <a:pt x="505897" y="457020"/>
                  </a:lnTo>
                  <a:close/>
                </a:path>
              </a:pathLst>
            </a:custGeom>
            <a:solidFill>
              <a:srgbClr val="005DA9"/>
            </a:solidFill>
            <a:ln w="6439" cap="flat">
              <a:noFill/>
              <a:prstDash val="solid"/>
              <a:miter/>
            </a:ln>
          </p:spPr>
          <p:txBody>
            <a:bodyPr rtlCol="0" anchor="ctr"/>
            <a:lstStyle/>
            <a:p>
              <a:endParaRPr lang="en-US" sz="1800" baseline="0" noProof="0">
                <a:latin typeface="+mn-lt"/>
                <a:ea typeface="+mn-ea"/>
                <a:cs typeface="+mn-cs"/>
              </a:endParaRPr>
            </a:p>
          </p:txBody>
        </p:sp>
        <p:sp>
          <p:nvSpPr>
            <p:cNvPr id="14" name="Freeform: Shape 13">
              <a:extLst>
                <a:ext uri="{FF2B5EF4-FFF2-40B4-BE49-F238E27FC236}">
                  <a16:creationId xmlns:a16="http://schemas.microsoft.com/office/drawing/2014/main" id="{CA824C84-95A2-4E55-BBD1-9A8DDECAB2F7}"/>
                </a:ext>
              </a:extLst>
            </p:cNvPr>
            <p:cNvSpPr/>
            <p:nvPr/>
          </p:nvSpPr>
          <p:spPr>
            <a:xfrm>
              <a:off x="9738355" y="5453433"/>
              <a:ext cx="1826386" cy="800518"/>
            </a:xfrm>
            <a:custGeom>
              <a:avLst/>
              <a:gdLst>
                <a:gd name="connsiteX0" fmla="*/ 1549915 w 1826386"/>
                <a:gd name="connsiteY0" fmla="*/ 674411 h 800518"/>
                <a:gd name="connsiteX1" fmla="*/ 970550 w 1826386"/>
                <a:gd name="connsiteY1" fmla="*/ 746708 h 800518"/>
                <a:gd name="connsiteX2" fmla="*/ 102468 w 1826386"/>
                <a:gd name="connsiteY2" fmla="*/ 396197 h 800518"/>
                <a:gd name="connsiteX3" fmla="*/ 250693 w 1826386"/>
                <a:gd name="connsiteY3" fmla="*/ 186406 h 800518"/>
                <a:gd name="connsiteX4" fmla="*/ 221693 w 1826386"/>
                <a:gd name="connsiteY4" fmla="*/ 129602 h 800518"/>
                <a:gd name="connsiteX5" fmla="*/ 0 w 1826386"/>
                <a:gd name="connsiteY5" fmla="*/ 402006 h 800518"/>
                <a:gd name="connsiteX6" fmla="*/ 975705 w 1826386"/>
                <a:gd name="connsiteY6" fmla="*/ 800285 h 800518"/>
                <a:gd name="connsiteX7" fmla="*/ 1501581 w 1826386"/>
                <a:gd name="connsiteY7" fmla="*/ 718306 h 800518"/>
                <a:gd name="connsiteX8" fmla="*/ 1826386 w 1826386"/>
                <a:gd name="connsiteY8" fmla="*/ 536272 h 800518"/>
                <a:gd name="connsiteX9" fmla="*/ 1549915 w 1826386"/>
                <a:gd name="connsiteY9" fmla="*/ 674411 h 800518"/>
                <a:gd name="connsiteX10" fmla="*/ 467875 w 1826386"/>
                <a:gd name="connsiteY10" fmla="*/ 88289 h 800518"/>
                <a:gd name="connsiteX11" fmla="*/ 550365 w 1826386"/>
                <a:gd name="connsiteY11" fmla="*/ 61823 h 800518"/>
                <a:gd name="connsiteX12" fmla="*/ 976350 w 1826386"/>
                <a:gd name="connsiteY12" fmla="*/ 3727 h 800518"/>
                <a:gd name="connsiteX13" fmla="*/ 540054 w 1826386"/>
                <a:gd name="connsiteY13" fmla="*/ 26966 h 800518"/>
                <a:gd name="connsiteX14" fmla="*/ 451763 w 1826386"/>
                <a:gd name="connsiteY14" fmla="*/ 45685 h 800518"/>
                <a:gd name="connsiteX15" fmla="*/ 416318 w 1826386"/>
                <a:gd name="connsiteY15" fmla="*/ 55368 h 800518"/>
                <a:gd name="connsiteX16" fmla="*/ 384095 w 1826386"/>
                <a:gd name="connsiteY16" fmla="*/ 64405 h 800518"/>
                <a:gd name="connsiteX17" fmla="*/ 345428 w 1826386"/>
                <a:gd name="connsiteY17" fmla="*/ 77315 h 800518"/>
                <a:gd name="connsiteX18" fmla="*/ 366695 w 1826386"/>
                <a:gd name="connsiteY18" fmla="*/ 126374 h 800518"/>
                <a:gd name="connsiteX19" fmla="*/ 467875 w 1826386"/>
                <a:gd name="connsiteY19" fmla="*/ 88289 h 800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26386" h="800518">
                  <a:moveTo>
                    <a:pt x="1549915" y="674411"/>
                  </a:moveTo>
                  <a:cubicBezTo>
                    <a:pt x="1379779" y="724761"/>
                    <a:pt x="1172909" y="746708"/>
                    <a:pt x="970550" y="746708"/>
                  </a:cubicBezTo>
                  <a:cubicBezTo>
                    <a:pt x="456919" y="746708"/>
                    <a:pt x="125669" y="595659"/>
                    <a:pt x="102468" y="396197"/>
                  </a:cubicBezTo>
                  <a:cubicBezTo>
                    <a:pt x="94090" y="321318"/>
                    <a:pt x="152736" y="248375"/>
                    <a:pt x="250693" y="186406"/>
                  </a:cubicBezTo>
                  <a:cubicBezTo>
                    <a:pt x="233293" y="173496"/>
                    <a:pt x="222337" y="152840"/>
                    <a:pt x="221693" y="129602"/>
                  </a:cubicBezTo>
                  <a:cubicBezTo>
                    <a:pt x="79912" y="204481"/>
                    <a:pt x="0" y="302598"/>
                    <a:pt x="0" y="402006"/>
                  </a:cubicBezTo>
                  <a:cubicBezTo>
                    <a:pt x="0" y="622125"/>
                    <a:pt x="392473" y="808031"/>
                    <a:pt x="975705" y="800285"/>
                  </a:cubicBezTo>
                  <a:cubicBezTo>
                    <a:pt x="1178709" y="797703"/>
                    <a:pt x="1348200" y="768655"/>
                    <a:pt x="1501581" y="718306"/>
                  </a:cubicBezTo>
                  <a:cubicBezTo>
                    <a:pt x="1683962" y="658919"/>
                    <a:pt x="1798675" y="573712"/>
                    <a:pt x="1826386" y="536272"/>
                  </a:cubicBezTo>
                  <a:cubicBezTo>
                    <a:pt x="1793519" y="565966"/>
                    <a:pt x="1715540" y="625352"/>
                    <a:pt x="1549915" y="674411"/>
                  </a:cubicBezTo>
                  <a:close/>
                  <a:moveTo>
                    <a:pt x="467875" y="88289"/>
                  </a:moveTo>
                  <a:cubicBezTo>
                    <a:pt x="502031" y="76670"/>
                    <a:pt x="550365" y="61823"/>
                    <a:pt x="550365" y="61823"/>
                  </a:cubicBezTo>
                  <a:cubicBezTo>
                    <a:pt x="686345" y="24384"/>
                    <a:pt x="836503" y="2436"/>
                    <a:pt x="976350" y="3727"/>
                  </a:cubicBezTo>
                  <a:cubicBezTo>
                    <a:pt x="815236" y="-5955"/>
                    <a:pt x="668300" y="3727"/>
                    <a:pt x="540054" y="26966"/>
                  </a:cubicBezTo>
                  <a:cubicBezTo>
                    <a:pt x="540054" y="26966"/>
                    <a:pt x="497519" y="34066"/>
                    <a:pt x="451763" y="45685"/>
                  </a:cubicBezTo>
                  <a:cubicBezTo>
                    <a:pt x="451763" y="45685"/>
                    <a:pt x="429852" y="51495"/>
                    <a:pt x="416318" y="55368"/>
                  </a:cubicBezTo>
                  <a:cubicBezTo>
                    <a:pt x="402785" y="59241"/>
                    <a:pt x="384095" y="64405"/>
                    <a:pt x="384095" y="64405"/>
                  </a:cubicBezTo>
                  <a:cubicBezTo>
                    <a:pt x="371206" y="68278"/>
                    <a:pt x="358317" y="72797"/>
                    <a:pt x="345428" y="77315"/>
                  </a:cubicBezTo>
                  <a:cubicBezTo>
                    <a:pt x="358317" y="90225"/>
                    <a:pt x="366051" y="107009"/>
                    <a:pt x="366695" y="126374"/>
                  </a:cubicBezTo>
                  <a:cubicBezTo>
                    <a:pt x="389251" y="116046"/>
                    <a:pt x="432429" y="100554"/>
                    <a:pt x="467875" y="88289"/>
                  </a:cubicBezTo>
                  <a:close/>
                </a:path>
              </a:pathLst>
            </a:custGeom>
            <a:solidFill>
              <a:srgbClr val="E30034"/>
            </a:solidFill>
            <a:ln w="6439" cap="flat">
              <a:noFill/>
              <a:prstDash val="solid"/>
              <a:miter/>
            </a:ln>
          </p:spPr>
          <p:txBody>
            <a:bodyPr rtlCol="0" anchor="ctr"/>
            <a:lstStyle/>
            <a:p>
              <a:endParaRPr lang="en-US" sz="1800" baseline="0" noProof="0">
                <a:latin typeface="+mn-lt"/>
                <a:ea typeface="+mn-ea"/>
                <a:cs typeface="+mn-cs"/>
              </a:endParaRPr>
            </a:p>
          </p:txBody>
        </p:sp>
      </p:grpSp>
      <p:sp>
        <p:nvSpPr>
          <p:cNvPr id="11" name="MIO_AGENDA_IGNORE_NAVIGATION" hidden="1">
            <a:extLst>
              <a:ext uri="{FF2B5EF4-FFF2-40B4-BE49-F238E27FC236}">
                <a16:creationId xmlns:a16="http://schemas.microsoft.com/office/drawing/2014/main" id="{73923FBC-8302-46A2-AAEF-9F2F1FFC31BF}"/>
              </a:ext>
            </a:extLst>
          </p:cNvPr>
          <p:cNvSpPr/>
          <p:nvPr/>
        </p:nvSpPr>
        <p:spPr bwMode="auto">
          <a:xfrm>
            <a:off x="8874822" y="87474"/>
            <a:ext cx="162018" cy="162018"/>
          </a:xfrm>
          <a:prstGeom prst="noSmoking">
            <a:avLst/>
          </a:prstGeom>
          <a:solidFill>
            <a:schemeClr val="accent4"/>
          </a:solidFill>
          <a:ln w="9525">
            <a:noFill/>
            <a:miter lim="800000"/>
            <a:headEnd/>
            <a:tailEnd/>
          </a:ln>
        </p:spPr>
        <p:txBody>
          <a:bodyPr wrap="square" lIns="54000" tIns="54000" rIns="54000" bIns="54000" rtlCol="0" anchor="ctr"/>
          <a:lstStyle/>
          <a:p>
            <a:pPr algn="ctr" eaLnBrk="0" hangingPunct="0"/>
            <a:endParaRPr lang="en-US" sz="1200" baseline="0" noProof="0">
              <a:latin typeface="+mn-lt"/>
              <a:ea typeface="+mn-ea"/>
              <a:cs typeface="+mn-cs"/>
            </a:endParaRPr>
          </a:p>
        </p:txBody>
      </p:sp>
      <p:sp>
        <p:nvSpPr>
          <p:cNvPr id="15" name="MIO_AGENDA_IGNORE_CHAPTER_REFERENCE" hidden="1">
            <a:extLst>
              <a:ext uri="{FF2B5EF4-FFF2-40B4-BE49-F238E27FC236}">
                <a16:creationId xmlns:a16="http://schemas.microsoft.com/office/drawing/2014/main" id="{B9EE8F10-F396-4FB2-BAE1-D8AE2940E4D3}"/>
              </a:ext>
            </a:extLst>
          </p:cNvPr>
          <p:cNvSpPr/>
          <p:nvPr/>
        </p:nvSpPr>
        <p:spPr bwMode="auto">
          <a:xfrm>
            <a:off x="8874822" y="87474"/>
            <a:ext cx="162018" cy="162018"/>
          </a:xfrm>
          <a:prstGeom prst="noSmoking">
            <a:avLst/>
          </a:prstGeom>
          <a:solidFill>
            <a:schemeClr val="accent4"/>
          </a:solidFill>
          <a:ln w="9525">
            <a:noFill/>
            <a:miter lim="800000"/>
            <a:headEnd/>
            <a:tailEnd/>
          </a:ln>
        </p:spPr>
        <p:txBody>
          <a:bodyPr wrap="square" lIns="54000" tIns="54000" rIns="54000" bIns="54000" rtlCol="0" anchor="ctr"/>
          <a:lstStyle/>
          <a:p>
            <a:pPr algn="ctr" eaLnBrk="0" hangingPunct="0"/>
            <a:endParaRPr lang="en-US" sz="1200" baseline="0" noProof="0">
              <a:latin typeface="+mn-lt"/>
              <a:ea typeface="+mn-ea"/>
              <a:cs typeface="+mn-cs"/>
            </a:endParaRPr>
          </a:p>
        </p:txBody>
      </p:sp>
      <p:sp>
        <p:nvSpPr>
          <p:cNvPr id="10" name="Date Placeholder 9">
            <a:extLst>
              <a:ext uri="{FF2B5EF4-FFF2-40B4-BE49-F238E27FC236}">
                <a16:creationId xmlns:a16="http://schemas.microsoft.com/office/drawing/2014/main" id="{ADFF1ACC-A53B-464A-B036-465BC7BE3CE9}"/>
              </a:ext>
            </a:extLst>
          </p:cNvPr>
          <p:cNvSpPr>
            <a:spLocks noGrp="1"/>
          </p:cNvSpPr>
          <p:nvPr>
            <p:ph type="dt" sz="half" idx="21"/>
          </p:nvPr>
        </p:nvSpPr>
        <p:spPr/>
        <p:txBody>
          <a:bodyPr/>
          <a:lstStyle/>
          <a:p>
            <a:endParaRPr lang="en-US" b="1" dirty="0"/>
          </a:p>
        </p:txBody>
      </p:sp>
      <p:sp>
        <p:nvSpPr>
          <p:cNvPr id="16" name="Footer Placeholder 15">
            <a:extLst>
              <a:ext uri="{FF2B5EF4-FFF2-40B4-BE49-F238E27FC236}">
                <a16:creationId xmlns:a16="http://schemas.microsoft.com/office/drawing/2014/main" id="{E4665AA8-8CF0-4329-862C-7F59DB27D4F4}"/>
              </a:ext>
            </a:extLst>
          </p:cNvPr>
          <p:cNvSpPr>
            <a:spLocks noGrp="1"/>
          </p:cNvSpPr>
          <p:nvPr>
            <p:ph type="ftr" sz="quarter" idx="22"/>
          </p:nvPr>
        </p:nvSpPr>
        <p:spPr/>
        <p:txBody>
          <a:bodyPr/>
          <a:lstStyle/>
          <a:p>
            <a:endParaRPr lang="en-US" dirty="0"/>
          </a:p>
        </p:txBody>
      </p:sp>
      <p:sp>
        <p:nvSpPr>
          <p:cNvPr id="17" name="Slide Number Placeholder 16" hidden="1">
            <a:extLst>
              <a:ext uri="{FF2B5EF4-FFF2-40B4-BE49-F238E27FC236}">
                <a16:creationId xmlns:a16="http://schemas.microsoft.com/office/drawing/2014/main" id="{0DE7C452-06CA-4B5F-B462-4F463B2E49BF}"/>
              </a:ext>
            </a:extLst>
          </p:cNvPr>
          <p:cNvSpPr>
            <a:spLocks noGrp="1"/>
          </p:cNvSpPr>
          <p:nvPr>
            <p:ph type="sldNum" sz="quarter" idx="23"/>
          </p:nvPr>
        </p:nvSpPr>
        <p:spPr/>
        <p:txBody>
          <a:bodyPr/>
          <a:lstStyle/>
          <a:p>
            <a:r>
              <a:rPr lang="en-US"/>
              <a:t> </a:t>
            </a:r>
            <a:endParaRPr lang="en-US" dirty="0"/>
          </a:p>
        </p:txBody>
      </p:sp>
    </p:spTree>
    <p:extLst>
      <p:ext uri="{BB962C8B-B14F-4D97-AF65-F5344CB8AC3E}">
        <p14:creationId xmlns:p14="http://schemas.microsoft.com/office/powerpoint/2010/main" val="486657331"/>
      </p:ext>
    </p:extLst>
  </p:cSld>
  <p:clrMapOvr>
    <a:masterClrMapping/>
  </p:clrMapOvr>
  <p:hf hdr="0"/>
  <p:extLst mod="1">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IFX_Title_Only">
    <p:spTree>
      <p:nvGrpSpPr>
        <p:cNvPr id="1" name=""/>
        <p:cNvGrpSpPr/>
        <p:nvPr/>
      </p:nvGrpSpPr>
      <p:grpSpPr>
        <a:xfrm>
          <a:off x="0" y="0"/>
          <a:ext cx="0" cy="0"/>
          <a:chOff x="0" y="0"/>
          <a:chExt cx="0" cy="0"/>
        </a:xfrm>
      </p:grpSpPr>
      <p:sp>
        <p:nvSpPr>
          <p:cNvPr id="2" name="empower_additionalText_placeholder" hidden="1">
            <a:extLst>
              <a:ext uri="{FF2B5EF4-FFF2-40B4-BE49-F238E27FC236}">
                <a16:creationId xmlns:a16="http://schemas.microsoft.com/office/drawing/2014/main" id="{93F7048C-8316-453D-8883-8716B78B0306}"/>
              </a:ext>
            </a:extLst>
          </p:cNvPr>
          <p:cNvSpPr txBox="1"/>
          <p:nvPr>
            <p:custDataLst>
              <p:tags r:id="rId1"/>
            </p:custDataLst>
          </p:nvPr>
        </p:nvSpPr>
        <p:spPr bwMode="auto">
          <a:xfrm>
            <a:off x="1898847" y="4867006"/>
            <a:ext cx="1296000" cy="271094"/>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sz="600" baseline="0" noProof="0">
              <a:latin typeface="+mn-lt"/>
              <a:ea typeface="+mn-ea"/>
              <a:cs typeface="+mn-cs"/>
            </a:endParaRPr>
          </a:p>
        </p:txBody>
      </p:sp>
      <p:sp>
        <p:nvSpPr>
          <p:cNvPr id="10" name="empower_document_placeholder" hidden="1">
            <a:extLst>
              <a:ext uri="{FF2B5EF4-FFF2-40B4-BE49-F238E27FC236}">
                <a16:creationId xmlns:a16="http://schemas.microsoft.com/office/drawing/2014/main" id="{19AD8A63-6441-49F3-BD90-8D4DF9E47EE1}"/>
              </a:ext>
            </a:extLst>
          </p:cNvPr>
          <p:cNvSpPr txBox="1"/>
          <p:nvPr>
            <p:custDataLst>
              <p:tags r:id="rId2"/>
            </p:custDataLst>
          </p:nvPr>
        </p:nvSpPr>
        <p:spPr bwMode="auto">
          <a:xfrm rot="16200000">
            <a:off x="8068416" y="3720253"/>
            <a:ext cx="1944000" cy="188119"/>
          </a:xfrm>
          <a:prstGeom prst="rect">
            <a:avLst/>
          </a:prstGeom>
          <a:noFill/>
          <a:ln w="9525">
            <a:noFill/>
            <a:miter lim="800000"/>
            <a:headEnd/>
            <a:tailEnd/>
          </a:ln>
          <a:effectLst/>
        </p:spPr>
        <p:txBody>
          <a:bodyPr wrap="none" lIns="0" tIns="0" rIns="0" bIns="0" rtlCol="0" anchor="ctr" anchorCtr="0">
            <a:noAutofit/>
          </a:bodyPr>
          <a:lstStyle/>
          <a:p>
            <a:pPr marL="0" marR="0" indent="0"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525" kern="0" baseline="0" noProof="0">
                <a:solidFill>
                  <a:srgbClr val="928285"/>
                </a:solidFill>
                <a:latin typeface="+mn-lt"/>
                <a:ea typeface="+mn-ea"/>
                <a:cs typeface="+mn-cs"/>
              </a:rPr>
              <a:t>[Owner:   Doc ID:   Vers.: ]</a:t>
            </a:r>
          </a:p>
        </p:txBody>
      </p:sp>
      <p:sp>
        <p:nvSpPr>
          <p:cNvPr id="12" name="empower_proprietary_placeholder" hidden="1">
            <a:extLst>
              <a:ext uri="{FF2B5EF4-FFF2-40B4-BE49-F238E27FC236}">
                <a16:creationId xmlns:a16="http://schemas.microsoft.com/office/drawing/2014/main" id="{47EE7D08-6A4F-4583-B0FB-2642238529C0}"/>
              </a:ext>
            </a:extLst>
          </p:cNvPr>
          <p:cNvSpPr txBox="1"/>
          <p:nvPr>
            <p:custDataLst>
              <p:tags r:id="rId3"/>
            </p:custDataLst>
          </p:nvPr>
        </p:nvSpPr>
        <p:spPr bwMode="auto">
          <a:xfrm>
            <a:off x="7083360" y="4867006"/>
            <a:ext cx="729000" cy="271094"/>
          </a:xfrm>
          <a:prstGeom prst="rect">
            <a:avLst/>
          </a:prstGeom>
          <a:noFill/>
          <a:ln w="9525">
            <a:noFill/>
            <a:miter lim="800000"/>
            <a:headEnd/>
            <a:tailEnd/>
          </a:ln>
          <a:effectLst/>
        </p:spPr>
        <p:txBody>
          <a:bodyPr wrap="none" lIns="0" tIns="0" rIns="0" bIns="0" rtlCol="0" anchor="ctr" anchorCtr="0">
            <a:noAutofit/>
          </a:bodyPr>
          <a:lstStyle/>
          <a:p>
            <a:pPr marL="0" marR="0" indent="0"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600" b="1" kern="0" baseline="0" noProof="0">
                <a:solidFill>
                  <a:srgbClr val="E30034"/>
                </a:solidFill>
                <a:latin typeface="+mn-lt"/>
                <a:ea typeface="+mn-ea"/>
                <a:cs typeface="+mn-cs"/>
              </a:rPr>
              <a:t>Infineon Proprietary</a:t>
            </a:r>
          </a:p>
        </p:txBody>
      </p:sp>
      <p:sp>
        <p:nvSpPr>
          <p:cNvPr id="14" name="empower_draft_placeholder" hidden="1">
            <a:extLst>
              <a:ext uri="{FF2B5EF4-FFF2-40B4-BE49-F238E27FC236}">
                <a16:creationId xmlns:a16="http://schemas.microsoft.com/office/drawing/2014/main" id="{BBB3932D-D47B-4955-93EE-467AC52E4E27}"/>
              </a:ext>
            </a:extLst>
          </p:cNvPr>
          <p:cNvSpPr txBox="1"/>
          <p:nvPr>
            <p:custDataLst>
              <p:tags r:id="rId4"/>
            </p:custDataLst>
          </p:nvPr>
        </p:nvSpPr>
        <p:spPr bwMode="auto">
          <a:xfrm>
            <a:off x="6570892" y="4867006"/>
            <a:ext cx="270272" cy="271094"/>
          </a:xfrm>
          <a:prstGeom prst="rect">
            <a:avLst/>
          </a:prstGeom>
          <a:noFill/>
          <a:ln w="9525">
            <a:noFill/>
            <a:miter lim="800000"/>
            <a:headEnd/>
            <a:tailEnd/>
          </a:ln>
          <a:effectLst/>
        </p:spPr>
        <p:txBody>
          <a:bodyPr wrap="none" lIns="0" tIns="0" rIns="0" bIns="0" rtlCol="0" anchor="ctr" anchorCtr="0">
            <a:noAutofit/>
          </a:bodyPr>
          <a:lstStyle/>
          <a:p>
            <a:pPr marL="0" marR="0" indent="0" algn="l"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600" b="1" kern="0" baseline="0" noProof="0">
                <a:solidFill>
                  <a:srgbClr val="E30034"/>
                </a:solidFill>
                <a:latin typeface="+mn-lt"/>
                <a:ea typeface="+mn-ea"/>
                <a:cs typeface="+mn-cs"/>
              </a:rPr>
              <a:t>- DRAFT -</a:t>
            </a:r>
          </a:p>
        </p:txBody>
      </p:sp>
      <p:sp>
        <p:nvSpPr>
          <p:cNvPr id="16" name="empower_footer_placeholder">
            <a:extLst>
              <a:ext uri="{FF2B5EF4-FFF2-40B4-BE49-F238E27FC236}">
                <a16:creationId xmlns:a16="http://schemas.microsoft.com/office/drawing/2014/main" id="{BB857729-3B9C-45BF-8F44-236D56EED406}"/>
              </a:ext>
            </a:extLst>
          </p:cNvPr>
          <p:cNvSpPr txBox="1"/>
          <p:nvPr>
            <p:custDataLst>
              <p:tags r:id="rId5"/>
            </p:custDataLst>
          </p:nvPr>
        </p:nvSpPr>
        <p:spPr bwMode="auto">
          <a:xfrm>
            <a:off x="3410872" y="4867006"/>
            <a:ext cx="2322257" cy="271094"/>
          </a:xfrm>
          <a:prstGeom prst="rect">
            <a:avLst/>
          </a:prstGeom>
          <a:noFill/>
          <a:ln w="9525">
            <a:noFill/>
            <a:miter lim="800000"/>
            <a:headEnd/>
            <a:tailEnd/>
          </a:ln>
          <a:effectLst/>
        </p:spPr>
        <p:txBody>
          <a:bodyPr wrap="none" lIns="0" tIns="0" rIns="0" bIns="0" rtlCol="0" anchor="ctr" anchorCtr="0">
            <a:noAutofit/>
          </a:bodyPr>
          <a:lstStyle/>
          <a:p>
            <a:pPr marL="0" marR="0" indent="0" algn="ctr" defTabSz="685800" eaLnBrk="0" fontAlgn="auto" latinLnBrk="0" hangingPunct="0">
              <a:spcBef>
                <a:spcPts val="0"/>
              </a:spcBef>
              <a:spcAft>
                <a:spcPts val="225"/>
              </a:spcAft>
              <a:buClr>
                <a:schemeClr val="accent1"/>
              </a:buClr>
              <a:buSzTx/>
              <a:buFont typeface="Arial" panose="020B0604020202020204" pitchFamily="34" charset="0"/>
              <a:buNone/>
              <a:tabLst/>
            </a:pPr>
            <a:r>
              <a:rPr lang="en-GB" sz="600" kern="0" baseline="0" noProof="0">
                <a:solidFill>
                  <a:srgbClr val="928285"/>
                </a:solidFill>
                <a:latin typeface="+mn-lt"/>
                <a:ea typeface="+mn-ea"/>
                <a:cs typeface="+mn-cs"/>
              </a:rPr>
              <a:t>Copyright © Infineon Technologies AG 2022. All rights reserved.</a:t>
            </a:r>
            <a:endParaRPr lang="en-US" sz="600" kern="0" baseline="0" noProof="0">
              <a:solidFill>
                <a:srgbClr val="928285"/>
              </a:solidFill>
              <a:latin typeface="+mn-lt"/>
              <a:ea typeface="+mn-ea"/>
              <a:cs typeface="+mn-cs"/>
            </a:endParaRPr>
          </a:p>
        </p:txBody>
      </p:sp>
      <p:sp>
        <p:nvSpPr>
          <p:cNvPr id="18" name="empower_classification_attention_placeholder" hidden="1">
            <a:extLst>
              <a:ext uri="{FF2B5EF4-FFF2-40B4-BE49-F238E27FC236}">
                <a16:creationId xmlns:a16="http://schemas.microsoft.com/office/drawing/2014/main" id="{ED12D396-6789-4220-B5FF-8F4E755A3C76}"/>
              </a:ext>
            </a:extLst>
          </p:cNvPr>
          <p:cNvSpPr txBox="1"/>
          <p:nvPr>
            <p:custDataLst>
              <p:tags r:id="rId6"/>
            </p:custDataLst>
          </p:nvPr>
        </p:nvSpPr>
        <p:spPr bwMode="auto">
          <a:xfrm>
            <a:off x="928642" y="4867275"/>
            <a:ext cx="728891" cy="270825"/>
          </a:xfrm>
          <a:prstGeom prst="rect">
            <a:avLst/>
          </a:prstGeom>
          <a:noFill/>
          <a:ln w="9525">
            <a:noFill/>
            <a:miter lim="800000"/>
            <a:headEnd/>
            <a:tailEnd/>
          </a:ln>
          <a:effectLst/>
        </p:spPr>
        <p:txBody>
          <a:bodyPr wrap="none" lIns="0" tIns="0" rIns="0" bIns="0" rtlCol="0" anchor="ctr" anchorCtr="0">
            <a:noAutofit/>
          </a:bodyPr>
          <a:lstStyle/>
          <a:p>
            <a:pPr marL="0" marR="0" indent="0" algn="l"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600" b="1" kern="0" baseline="0" noProof="0">
                <a:solidFill>
                  <a:srgbClr val="E30034"/>
                </a:solidFill>
                <a:latin typeface="+mn-lt"/>
                <a:ea typeface="+mn-ea"/>
                <a:cs typeface="+mn-cs"/>
              </a:rPr>
              <a:t>Restricted</a:t>
            </a:r>
          </a:p>
        </p:txBody>
      </p:sp>
      <p:sp>
        <p:nvSpPr>
          <p:cNvPr id="20" name="empower_classification_placeholder">
            <a:extLst>
              <a:ext uri="{FF2B5EF4-FFF2-40B4-BE49-F238E27FC236}">
                <a16:creationId xmlns:a16="http://schemas.microsoft.com/office/drawing/2014/main" id="{37C1E426-F34B-4FFB-A688-C9E251A8BC0B}"/>
              </a:ext>
            </a:extLst>
          </p:cNvPr>
          <p:cNvSpPr txBox="1"/>
          <p:nvPr>
            <p:custDataLst>
              <p:tags r:id="rId7"/>
            </p:custDataLst>
          </p:nvPr>
        </p:nvSpPr>
        <p:spPr bwMode="auto">
          <a:xfrm>
            <a:off x="928642" y="4867275"/>
            <a:ext cx="729938" cy="270825"/>
          </a:xfrm>
          <a:prstGeom prst="rect">
            <a:avLst/>
          </a:prstGeom>
          <a:noFill/>
          <a:ln w="9525">
            <a:noFill/>
            <a:miter lim="800000"/>
            <a:headEnd/>
            <a:tailEnd/>
          </a:ln>
          <a:effectLst/>
        </p:spPr>
        <p:txBody>
          <a:bodyPr wrap="none" lIns="0" tIns="0" rIns="0" bIns="0" rtlCol="0" anchor="ctr" anchorCtr="0">
            <a:noAutofit/>
          </a:bodyPr>
          <a:lstStyle/>
          <a:p>
            <a:pPr marL="0" marR="0" indent="0" algn="l"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600" b="1" kern="0" baseline="0" noProof="0">
                <a:solidFill>
                  <a:srgbClr val="928285"/>
                </a:solidFill>
                <a:latin typeface="+mn-lt"/>
                <a:ea typeface="+mn-ea"/>
                <a:cs typeface="+mn-cs"/>
              </a:rPr>
              <a:t>restricted</a:t>
            </a:r>
          </a:p>
        </p:txBody>
      </p:sp>
      <p:sp>
        <p:nvSpPr>
          <p:cNvPr id="22" name="empower_date_placeholder">
            <a:extLst>
              <a:ext uri="{FF2B5EF4-FFF2-40B4-BE49-F238E27FC236}">
                <a16:creationId xmlns:a16="http://schemas.microsoft.com/office/drawing/2014/main" id="{6976A686-032A-4DD8-ACB2-F6323D2BEB1D}"/>
              </a:ext>
            </a:extLst>
          </p:cNvPr>
          <p:cNvSpPr txBox="1"/>
          <p:nvPr>
            <p:custDataLst>
              <p:tags r:id="rId8"/>
            </p:custDataLst>
          </p:nvPr>
        </p:nvSpPr>
        <p:spPr bwMode="auto">
          <a:xfrm>
            <a:off x="251222" y="4867006"/>
            <a:ext cx="459000" cy="271094"/>
          </a:xfrm>
          <a:prstGeom prst="rect">
            <a:avLst/>
          </a:prstGeom>
          <a:noFill/>
          <a:ln w="9525">
            <a:noFill/>
            <a:miter lim="800000"/>
            <a:headEnd/>
            <a:tailEnd/>
          </a:ln>
          <a:effectLst/>
        </p:spPr>
        <p:txBody>
          <a:bodyPr wrap="none" lIns="0" tIns="0" rIns="0" bIns="0" rtlCol="0" anchor="ctr" anchorCtr="0">
            <a:noAutofit/>
          </a:bodyPr>
          <a:lstStyle/>
          <a:p>
            <a:pPr marL="0" marR="0" indent="0"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600" kern="0" baseline="0" noProof="0">
                <a:solidFill>
                  <a:srgbClr val="928285"/>
                </a:solidFill>
                <a:latin typeface="+mn-lt"/>
                <a:ea typeface="+mn-ea"/>
                <a:cs typeface="+mn-cs"/>
              </a:rPr>
              <a:t>2022-07-16</a:t>
            </a:r>
          </a:p>
        </p:txBody>
      </p:sp>
      <p:sp>
        <p:nvSpPr>
          <p:cNvPr id="8" name="LOGO PROTECTION" hidden="1">
            <a:extLst>
              <a:ext uri="{FF2B5EF4-FFF2-40B4-BE49-F238E27FC236}">
                <a16:creationId xmlns:a16="http://schemas.microsoft.com/office/drawing/2014/main" id="{F5FE3C92-21D9-4EC7-8208-A5BA097E9D7D}"/>
              </a:ext>
            </a:extLst>
          </p:cNvPr>
          <p:cNvSpPr/>
          <p:nvPr>
            <p:custDataLst>
              <p:tags r:id="rId9"/>
            </p:custDataLst>
          </p:nvPr>
        </p:nvSpPr>
        <p:spPr bwMode="auto">
          <a:xfrm>
            <a:off x="7598463" y="1"/>
            <a:ext cx="1545538" cy="627534"/>
          </a:xfrm>
          <a:prstGeom prst="rect">
            <a:avLst/>
          </a:prstGeom>
          <a:solidFill>
            <a:schemeClr val="accent3">
              <a:alpha val="50000"/>
            </a:schemeClr>
          </a:solidFill>
          <a:ln w="9525">
            <a:noFill/>
            <a:miter lim="800000"/>
            <a:headEnd/>
            <a:tailEnd/>
          </a:ln>
        </p:spPr>
        <p:txBody>
          <a:bodyPr wrap="square" lIns="54000" tIns="54000" rIns="54000" bIns="54000" rtlCol="0" anchor="ctr"/>
          <a:lstStyle/>
          <a:p>
            <a:pPr algn="ctr" eaLnBrk="0" hangingPunct="0"/>
            <a:endParaRPr lang="en-US" sz="1200" baseline="0" noProof="0">
              <a:latin typeface="+mn-lt"/>
              <a:ea typeface="+mn-ea"/>
              <a:cs typeface="+mn-cs"/>
            </a:endParaRPr>
          </a:p>
        </p:txBody>
      </p:sp>
      <p:sp>
        <p:nvSpPr>
          <p:cNvPr id="6" name="Title">
            <a:extLst>
              <a:ext uri="{FF2B5EF4-FFF2-40B4-BE49-F238E27FC236}">
                <a16:creationId xmlns:a16="http://schemas.microsoft.com/office/drawing/2014/main" id="{4807386D-5007-41B0-8720-8A575EEBAF43}"/>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7" name="Date Placeholder 6">
            <a:extLst>
              <a:ext uri="{FF2B5EF4-FFF2-40B4-BE49-F238E27FC236}">
                <a16:creationId xmlns:a16="http://schemas.microsoft.com/office/drawing/2014/main" id="{D1F9AA12-4C8C-4488-AF38-E06943B19AAF}"/>
              </a:ext>
            </a:extLst>
          </p:cNvPr>
          <p:cNvSpPr>
            <a:spLocks noGrp="1"/>
          </p:cNvSpPr>
          <p:nvPr>
            <p:ph type="dt" sz="half" idx="10"/>
          </p:nvPr>
        </p:nvSpPr>
        <p:spPr/>
        <p:txBody>
          <a:bodyPr/>
          <a:lstStyle/>
          <a:p>
            <a:endParaRPr lang="en-US" b="1" dirty="0"/>
          </a:p>
        </p:txBody>
      </p:sp>
      <p:sp>
        <p:nvSpPr>
          <p:cNvPr id="9" name="Footer Placeholder 8">
            <a:extLst>
              <a:ext uri="{FF2B5EF4-FFF2-40B4-BE49-F238E27FC236}">
                <a16:creationId xmlns:a16="http://schemas.microsoft.com/office/drawing/2014/main" id="{971F8BAB-E178-4122-ADFD-FE4894CC864F}"/>
              </a:ext>
            </a:extLst>
          </p:cNvPr>
          <p:cNvSpPr>
            <a:spLocks noGrp="1"/>
          </p:cNvSpPr>
          <p:nvPr>
            <p:ph type="ftr" sz="quarter" idx="11"/>
          </p:nvPr>
        </p:nvSpPr>
        <p:spPr/>
        <p:txBody>
          <a:bodyPr/>
          <a:lstStyle/>
          <a:p>
            <a:endParaRPr lang="en-US" dirty="0"/>
          </a:p>
        </p:txBody>
      </p:sp>
      <p:sp>
        <p:nvSpPr>
          <p:cNvPr id="11" name="Slide Number Placeholder 10" hidden="1">
            <a:extLst>
              <a:ext uri="{FF2B5EF4-FFF2-40B4-BE49-F238E27FC236}">
                <a16:creationId xmlns:a16="http://schemas.microsoft.com/office/drawing/2014/main" id="{F4BB077B-5178-4306-A596-17CDBFA21A56}"/>
              </a:ext>
            </a:extLst>
          </p:cNvPr>
          <p:cNvSpPr>
            <a:spLocks noGrp="1"/>
          </p:cNvSpPr>
          <p:nvPr>
            <p:ph type="sldNum" sz="quarter" idx="12"/>
          </p:nvPr>
        </p:nvSpPr>
        <p:spPr/>
        <p:txBody>
          <a:bodyPr/>
          <a:lstStyle/>
          <a:p>
            <a:r>
              <a:rPr lang="en-US"/>
              <a:t> </a:t>
            </a:r>
            <a:endParaRPr lang="en-US" dirty="0"/>
          </a:p>
        </p:txBody>
      </p:sp>
    </p:spTree>
    <p:extLst>
      <p:ext uri="{BB962C8B-B14F-4D97-AF65-F5344CB8AC3E}">
        <p14:creationId xmlns:p14="http://schemas.microsoft.com/office/powerpoint/2010/main" val="214958"/>
      </p:ext>
    </p:extLst>
  </p:cSld>
  <p:clrMapOvr>
    <a:masterClrMapping/>
  </p:clrMapOvr>
  <p:hf hdr="0"/>
  <p:extLst mod="1">
    <p:ext uri="{DCECCB84-F9BA-43D5-87BE-67443E8EF086}">
      <p15:sldGuideLst xmlns:p15="http://schemas.microsoft.com/office/powerpoint/2012/main">
        <p15:guide id="2" orient="horz" pos="3018" userDrawn="1">
          <p15:clr>
            <a:srgbClr val="FBAE40"/>
          </p15:clr>
        </p15:guide>
        <p15:guide id="3" pos="5604" userDrawn="1">
          <p15:clr>
            <a:srgbClr val="FBAE40"/>
          </p15:clr>
        </p15:guide>
        <p15:guide id="4" pos="156" userDrawn="1">
          <p15:clr>
            <a:srgbClr val="FBAE40"/>
          </p15:clr>
        </p15:guide>
        <p15:guide id="15" orient="horz" pos="60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IFX_Title_and_Content">
    <p:spTree>
      <p:nvGrpSpPr>
        <p:cNvPr id="1" name=""/>
        <p:cNvGrpSpPr/>
        <p:nvPr/>
      </p:nvGrpSpPr>
      <p:grpSpPr>
        <a:xfrm>
          <a:off x="0" y="0"/>
          <a:ext cx="0" cy="0"/>
          <a:chOff x="0" y="0"/>
          <a:chExt cx="0" cy="0"/>
        </a:xfrm>
      </p:grpSpPr>
      <p:sp>
        <p:nvSpPr>
          <p:cNvPr id="8" name="empower_additionalText_placeholder" hidden="1">
            <a:extLst>
              <a:ext uri="{FF2B5EF4-FFF2-40B4-BE49-F238E27FC236}">
                <a16:creationId xmlns:a16="http://schemas.microsoft.com/office/drawing/2014/main" id="{9D9C4037-B0BC-4E62-B476-A41D0440655D}"/>
              </a:ext>
            </a:extLst>
          </p:cNvPr>
          <p:cNvSpPr txBox="1">
            <a:spLocks/>
          </p:cNvSpPr>
          <p:nvPr>
            <p:custDataLst>
              <p:tags r:id="rId1"/>
            </p:custDataLst>
          </p:nvPr>
        </p:nvSpPr>
        <p:spPr bwMode="auto">
          <a:xfrm>
            <a:off x="1898847" y="4867275"/>
            <a:ext cx="1296000" cy="270825"/>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sz="600" noProof="0">
              <a:latin typeface="+mn-lt"/>
              <a:ea typeface="+mn-ea"/>
              <a:cs typeface="+mn-cs"/>
            </a:endParaRPr>
          </a:p>
        </p:txBody>
      </p:sp>
      <p:sp>
        <p:nvSpPr>
          <p:cNvPr id="11" name="empower_document_placeholder" hidden="1">
            <a:extLst>
              <a:ext uri="{FF2B5EF4-FFF2-40B4-BE49-F238E27FC236}">
                <a16:creationId xmlns:a16="http://schemas.microsoft.com/office/drawing/2014/main" id="{7BEA6DD0-FBBB-494B-9C03-C447E71492A5}"/>
              </a:ext>
            </a:extLst>
          </p:cNvPr>
          <p:cNvSpPr txBox="1"/>
          <p:nvPr>
            <p:custDataLst>
              <p:tags r:id="rId2"/>
            </p:custDataLst>
          </p:nvPr>
        </p:nvSpPr>
        <p:spPr bwMode="auto">
          <a:xfrm rot="16200000">
            <a:off x="8068416" y="3720253"/>
            <a:ext cx="1944000" cy="188119"/>
          </a:xfrm>
          <a:prstGeom prst="rect">
            <a:avLst/>
          </a:prstGeom>
          <a:noFill/>
          <a:ln w="9525">
            <a:noFill/>
            <a:miter lim="800000"/>
            <a:headEnd/>
            <a:tailEnd/>
          </a:ln>
          <a:effectLst/>
        </p:spPr>
        <p:txBody>
          <a:bodyPr wrap="none" lIns="0" tIns="0" rIns="0" bIns="0" rtlCol="0" anchor="ctr" anchorCtr="0">
            <a:noAutofit/>
          </a:bodyPr>
          <a:lstStyle/>
          <a:p>
            <a:pPr marL="0" marR="0" indent="0"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525" kern="0" noProof="0">
                <a:solidFill>
                  <a:srgbClr val="928285"/>
                </a:solidFill>
                <a:latin typeface="+mn-lt"/>
                <a:ea typeface="+mn-ea"/>
                <a:cs typeface="+mn-cs"/>
              </a:rPr>
              <a:t>[Owner:   Doc ID:   Vers.: ]</a:t>
            </a:r>
          </a:p>
        </p:txBody>
      </p:sp>
      <p:sp>
        <p:nvSpPr>
          <p:cNvPr id="13" name="empower_proprietary_placeholder" hidden="1">
            <a:extLst>
              <a:ext uri="{FF2B5EF4-FFF2-40B4-BE49-F238E27FC236}">
                <a16:creationId xmlns:a16="http://schemas.microsoft.com/office/drawing/2014/main" id="{295E96AB-B6AB-4A8B-A097-6438B2DA5C51}"/>
              </a:ext>
            </a:extLst>
          </p:cNvPr>
          <p:cNvSpPr txBox="1"/>
          <p:nvPr>
            <p:custDataLst>
              <p:tags r:id="rId3"/>
            </p:custDataLst>
          </p:nvPr>
        </p:nvSpPr>
        <p:spPr bwMode="auto">
          <a:xfrm>
            <a:off x="7083360" y="4867275"/>
            <a:ext cx="729000" cy="270825"/>
          </a:xfrm>
          <a:prstGeom prst="rect">
            <a:avLst/>
          </a:prstGeom>
          <a:noFill/>
          <a:ln w="9525">
            <a:noFill/>
            <a:miter lim="800000"/>
            <a:headEnd/>
            <a:tailEnd/>
          </a:ln>
          <a:effectLst/>
        </p:spPr>
        <p:txBody>
          <a:bodyPr wrap="none" lIns="0" tIns="0" rIns="0" bIns="0" rtlCol="0" anchor="ctr" anchorCtr="0">
            <a:noAutofit/>
          </a:bodyPr>
          <a:lstStyle/>
          <a:p>
            <a:pPr marL="0" marR="0" indent="0"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600" b="1" kern="0" noProof="0">
                <a:solidFill>
                  <a:srgbClr val="E30034"/>
                </a:solidFill>
                <a:latin typeface="+mn-lt"/>
                <a:ea typeface="+mn-ea"/>
                <a:cs typeface="+mn-cs"/>
              </a:rPr>
              <a:t>Infineon Proprietary</a:t>
            </a:r>
          </a:p>
        </p:txBody>
      </p:sp>
      <p:sp>
        <p:nvSpPr>
          <p:cNvPr id="15" name="empower_draft_placeholder" hidden="1">
            <a:extLst>
              <a:ext uri="{FF2B5EF4-FFF2-40B4-BE49-F238E27FC236}">
                <a16:creationId xmlns:a16="http://schemas.microsoft.com/office/drawing/2014/main" id="{0B3EC6CF-5868-40BD-BF1B-882B13F49F5C}"/>
              </a:ext>
            </a:extLst>
          </p:cNvPr>
          <p:cNvSpPr txBox="1"/>
          <p:nvPr>
            <p:custDataLst>
              <p:tags r:id="rId4"/>
            </p:custDataLst>
          </p:nvPr>
        </p:nvSpPr>
        <p:spPr bwMode="auto">
          <a:xfrm>
            <a:off x="6570892" y="4867275"/>
            <a:ext cx="270272" cy="270825"/>
          </a:xfrm>
          <a:prstGeom prst="rect">
            <a:avLst/>
          </a:prstGeom>
          <a:noFill/>
          <a:ln w="9525">
            <a:noFill/>
            <a:miter lim="800000"/>
            <a:headEnd/>
            <a:tailEnd/>
          </a:ln>
          <a:effectLst/>
        </p:spPr>
        <p:txBody>
          <a:bodyPr wrap="none" lIns="0" tIns="0" rIns="0" bIns="0" rtlCol="0" anchor="ctr" anchorCtr="0">
            <a:noAutofit/>
          </a:bodyPr>
          <a:lstStyle/>
          <a:p>
            <a:pPr marL="0" marR="0" indent="0" algn="l"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600" b="1" kern="0" noProof="0">
                <a:solidFill>
                  <a:srgbClr val="E30034"/>
                </a:solidFill>
                <a:latin typeface="+mn-lt"/>
                <a:ea typeface="+mn-ea"/>
                <a:cs typeface="+mn-cs"/>
              </a:rPr>
              <a:t>- DRAFT -</a:t>
            </a:r>
          </a:p>
        </p:txBody>
      </p:sp>
      <p:sp>
        <p:nvSpPr>
          <p:cNvPr id="17" name="empower_footer_placeholder">
            <a:extLst>
              <a:ext uri="{FF2B5EF4-FFF2-40B4-BE49-F238E27FC236}">
                <a16:creationId xmlns:a16="http://schemas.microsoft.com/office/drawing/2014/main" id="{FE09BAC5-F3BC-4C51-A794-098F4099C052}"/>
              </a:ext>
            </a:extLst>
          </p:cNvPr>
          <p:cNvSpPr txBox="1"/>
          <p:nvPr>
            <p:custDataLst>
              <p:tags r:id="rId5"/>
            </p:custDataLst>
          </p:nvPr>
        </p:nvSpPr>
        <p:spPr bwMode="auto">
          <a:xfrm>
            <a:off x="3410872" y="4867275"/>
            <a:ext cx="2322257" cy="270825"/>
          </a:xfrm>
          <a:prstGeom prst="rect">
            <a:avLst/>
          </a:prstGeom>
          <a:noFill/>
          <a:ln w="9525">
            <a:noFill/>
            <a:miter lim="800000"/>
            <a:headEnd/>
            <a:tailEnd/>
          </a:ln>
          <a:effectLst/>
        </p:spPr>
        <p:txBody>
          <a:bodyPr wrap="none" lIns="0" tIns="0" rIns="0" bIns="0" rtlCol="0" anchor="ctr" anchorCtr="0">
            <a:noAutofit/>
          </a:bodyPr>
          <a:lstStyle/>
          <a:p>
            <a:pPr marL="0" marR="0" indent="0" algn="ctr" defTabSz="685800" eaLnBrk="0" fontAlgn="auto" latinLnBrk="0" hangingPunct="0">
              <a:spcBef>
                <a:spcPts val="0"/>
              </a:spcBef>
              <a:spcAft>
                <a:spcPts val="225"/>
              </a:spcAft>
              <a:buClr>
                <a:schemeClr val="accent1"/>
              </a:buClr>
              <a:buSzTx/>
              <a:buFont typeface="Arial" panose="020B0604020202020204" pitchFamily="34" charset="0"/>
              <a:buNone/>
              <a:tabLst/>
            </a:pPr>
            <a:r>
              <a:rPr lang="en-GB" sz="600" kern="0" noProof="0">
                <a:solidFill>
                  <a:srgbClr val="928285"/>
                </a:solidFill>
                <a:latin typeface="+mn-lt"/>
                <a:ea typeface="+mn-ea"/>
                <a:cs typeface="+mn-cs"/>
              </a:rPr>
              <a:t>Copyright © Infineon Technologies AG 2022. All rights reserved.</a:t>
            </a:r>
            <a:endParaRPr lang="en-US" sz="600" kern="0" noProof="0">
              <a:solidFill>
                <a:srgbClr val="928285"/>
              </a:solidFill>
              <a:latin typeface="+mn-lt"/>
              <a:ea typeface="+mn-ea"/>
              <a:cs typeface="+mn-cs"/>
            </a:endParaRPr>
          </a:p>
        </p:txBody>
      </p:sp>
      <p:sp>
        <p:nvSpPr>
          <p:cNvPr id="19" name="empower_classification_attention_placeholder" hidden="1">
            <a:extLst>
              <a:ext uri="{FF2B5EF4-FFF2-40B4-BE49-F238E27FC236}">
                <a16:creationId xmlns:a16="http://schemas.microsoft.com/office/drawing/2014/main" id="{E695FB18-B641-433F-A03A-D58B93F377B4}"/>
              </a:ext>
            </a:extLst>
          </p:cNvPr>
          <p:cNvSpPr txBox="1"/>
          <p:nvPr>
            <p:custDataLst>
              <p:tags r:id="rId6"/>
            </p:custDataLst>
          </p:nvPr>
        </p:nvSpPr>
        <p:spPr bwMode="auto">
          <a:xfrm>
            <a:off x="928642" y="4867275"/>
            <a:ext cx="728891" cy="270825"/>
          </a:xfrm>
          <a:prstGeom prst="rect">
            <a:avLst/>
          </a:prstGeom>
          <a:noFill/>
          <a:ln w="9525">
            <a:noFill/>
            <a:miter lim="800000"/>
            <a:headEnd/>
            <a:tailEnd/>
          </a:ln>
          <a:effectLst/>
        </p:spPr>
        <p:txBody>
          <a:bodyPr wrap="none" lIns="0" tIns="0" rIns="0" bIns="0" rtlCol="0" anchor="ctr" anchorCtr="0">
            <a:noAutofit/>
          </a:bodyPr>
          <a:lstStyle/>
          <a:p>
            <a:pPr marL="0" marR="0" indent="0" algn="l"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600" b="1" kern="0" noProof="0">
                <a:solidFill>
                  <a:srgbClr val="E30034"/>
                </a:solidFill>
                <a:latin typeface="+mn-lt"/>
                <a:ea typeface="+mn-ea"/>
                <a:cs typeface="+mn-cs"/>
              </a:rPr>
              <a:t>Restricted</a:t>
            </a:r>
          </a:p>
        </p:txBody>
      </p:sp>
      <p:sp>
        <p:nvSpPr>
          <p:cNvPr id="21" name="empower_classification_placeholder">
            <a:extLst>
              <a:ext uri="{FF2B5EF4-FFF2-40B4-BE49-F238E27FC236}">
                <a16:creationId xmlns:a16="http://schemas.microsoft.com/office/drawing/2014/main" id="{6F76DDB4-3F8E-4A82-B473-4784C9B20BC1}"/>
              </a:ext>
            </a:extLst>
          </p:cNvPr>
          <p:cNvSpPr txBox="1"/>
          <p:nvPr>
            <p:custDataLst>
              <p:tags r:id="rId7"/>
            </p:custDataLst>
          </p:nvPr>
        </p:nvSpPr>
        <p:spPr bwMode="auto">
          <a:xfrm>
            <a:off x="928642" y="4867275"/>
            <a:ext cx="729938" cy="270825"/>
          </a:xfrm>
          <a:prstGeom prst="rect">
            <a:avLst/>
          </a:prstGeom>
          <a:noFill/>
          <a:ln w="9525">
            <a:noFill/>
            <a:miter lim="800000"/>
            <a:headEnd/>
            <a:tailEnd/>
          </a:ln>
          <a:effectLst/>
        </p:spPr>
        <p:txBody>
          <a:bodyPr wrap="none" lIns="0" tIns="0" rIns="0" bIns="0" rtlCol="0" anchor="ctr" anchorCtr="0">
            <a:noAutofit/>
          </a:bodyPr>
          <a:lstStyle/>
          <a:p>
            <a:pPr marL="0" marR="0" indent="0" algn="l"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600" b="1" kern="0" noProof="0">
                <a:solidFill>
                  <a:srgbClr val="928285"/>
                </a:solidFill>
                <a:latin typeface="+mn-lt"/>
                <a:ea typeface="+mn-ea"/>
                <a:cs typeface="+mn-cs"/>
              </a:rPr>
              <a:t>restricted</a:t>
            </a:r>
          </a:p>
        </p:txBody>
      </p:sp>
      <p:sp>
        <p:nvSpPr>
          <p:cNvPr id="23" name="empower_date_placeholder">
            <a:extLst>
              <a:ext uri="{FF2B5EF4-FFF2-40B4-BE49-F238E27FC236}">
                <a16:creationId xmlns:a16="http://schemas.microsoft.com/office/drawing/2014/main" id="{2C326E6F-F54B-4E77-BCF5-73E6B02466B0}"/>
              </a:ext>
            </a:extLst>
          </p:cNvPr>
          <p:cNvSpPr txBox="1"/>
          <p:nvPr>
            <p:custDataLst>
              <p:tags r:id="rId8"/>
            </p:custDataLst>
          </p:nvPr>
        </p:nvSpPr>
        <p:spPr bwMode="auto">
          <a:xfrm>
            <a:off x="251222" y="4867275"/>
            <a:ext cx="459000" cy="270825"/>
          </a:xfrm>
          <a:prstGeom prst="rect">
            <a:avLst/>
          </a:prstGeom>
          <a:noFill/>
          <a:ln w="9525">
            <a:noFill/>
            <a:miter lim="800000"/>
            <a:headEnd/>
            <a:tailEnd/>
          </a:ln>
          <a:effectLst/>
        </p:spPr>
        <p:txBody>
          <a:bodyPr wrap="none" lIns="0" tIns="0" rIns="0" bIns="0" rtlCol="0" anchor="ctr" anchorCtr="0">
            <a:noAutofit/>
          </a:bodyPr>
          <a:lstStyle/>
          <a:p>
            <a:pPr marL="0" marR="0" indent="0"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600" kern="0" noProof="0">
                <a:solidFill>
                  <a:srgbClr val="928285"/>
                </a:solidFill>
                <a:latin typeface="+mn-lt"/>
                <a:ea typeface="+mn-ea"/>
                <a:cs typeface="+mn-cs"/>
              </a:rPr>
              <a:t>2022-07-16</a:t>
            </a:r>
          </a:p>
        </p:txBody>
      </p:sp>
      <p:sp>
        <p:nvSpPr>
          <p:cNvPr id="7" name="Content"/>
          <p:cNvSpPr>
            <a:spLocks noGrp="1"/>
          </p:cNvSpPr>
          <p:nvPr>
            <p:ph sz="quarter" idx="13" hasCustomPrompt="1"/>
          </p:nvPr>
        </p:nvSpPr>
        <p:spPr>
          <a:xfrm>
            <a:off x="251100" y="951311"/>
            <a:ext cx="8640000" cy="3835003"/>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itle">
            <a:extLst>
              <a:ext uri="{FF2B5EF4-FFF2-40B4-BE49-F238E27FC236}">
                <a16:creationId xmlns:a16="http://schemas.microsoft.com/office/drawing/2014/main" id="{2209D2CA-FDE2-4B12-9D75-213CCFE3FA9C}"/>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9" name="LOGO PROTECTION" hidden="1">
            <a:extLst>
              <a:ext uri="{FF2B5EF4-FFF2-40B4-BE49-F238E27FC236}">
                <a16:creationId xmlns:a16="http://schemas.microsoft.com/office/drawing/2014/main" id="{DF1FB678-4F92-45E5-9B25-2B5FE93A0952}"/>
              </a:ext>
            </a:extLst>
          </p:cNvPr>
          <p:cNvSpPr/>
          <p:nvPr>
            <p:custDataLst>
              <p:tags r:id="rId9"/>
            </p:custDataLst>
          </p:nvPr>
        </p:nvSpPr>
        <p:spPr bwMode="auto">
          <a:xfrm>
            <a:off x="7598463" y="1"/>
            <a:ext cx="1545538" cy="627534"/>
          </a:xfrm>
          <a:prstGeom prst="rect">
            <a:avLst/>
          </a:prstGeom>
          <a:solidFill>
            <a:schemeClr val="accent3">
              <a:alpha val="50000"/>
            </a:schemeClr>
          </a:solidFill>
          <a:ln w="9525">
            <a:noFill/>
            <a:miter lim="800000"/>
            <a:headEnd/>
            <a:tailEnd/>
          </a:ln>
        </p:spPr>
        <p:txBody>
          <a:bodyPr wrap="square" lIns="54000" tIns="54000" rIns="54000" bIns="54000" rtlCol="0" anchor="ctr"/>
          <a:lstStyle/>
          <a:p>
            <a:pPr algn="ctr" eaLnBrk="0" hangingPunct="0"/>
            <a:endParaRPr lang="en-US" sz="1200" noProof="0">
              <a:latin typeface="+mn-lt"/>
              <a:ea typeface="+mn-ea"/>
              <a:cs typeface="+mn-cs"/>
            </a:endParaRPr>
          </a:p>
        </p:txBody>
      </p:sp>
      <p:sp>
        <p:nvSpPr>
          <p:cNvPr id="2" name="Date Placeholder 1">
            <a:extLst>
              <a:ext uri="{FF2B5EF4-FFF2-40B4-BE49-F238E27FC236}">
                <a16:creationId xmlns:a16="http://schemas.microsoft.com/office/drawing/2014/main" id="{17B8A1C3-E607-4E28-91A1-A973183FE78F}"/>
              </a:ext>
            </a:extLst>
          </p:cNvPr>
          <p:cNvSpPr>
            <a:spLocks noGrp="1"/>
          </p:cNvSpPr>
          <p:nvPr>
            <p:ph type="dt" sz="half" idx="14"/>
          </p:nvPr>
        </p:nvSpPr>
        <p:spPr/>
        <p:txBody>
          <a:bodyPr/>
          <a:lstStyle/>
          <a:p>
            <a:endParaRPr lang="en-US" b="1" dirty="0"/>
          </a:p>
        </p:txBody>
      </p:sp>
      <p:sp>
        <p:nvSpPr>
          <p:cNvPr id="10" name="Footer Placeholder 9">
            <a:extLst>
              <a:ext uri="{FF2B5EF4-FFF2-40B4-BE49-F238E27FC236}">
                <a16:creationId xmlns:a16="http://schemas.microsoft.com/office/drawing/2014/main" id="{6B901E0B-D453-4CEB-8C35-51C25A27F89D}"/>
              </a:ext>
            </a:extLst>
          </p:cNvPr>
          <p:cNvSpPr>
            <a:spLocks noGrp="1"/>
          </p:cNvSpPr>
          <p:nvPr>
            <p:ph type="ftr" sz="quarter" idx="15"/>
          </p:nvPr>
        </p:nvSpPr>
        <p:spPr/>
        <p:txBody>
          <a:bodyPr/>
          <a:lstStyle/>
          <a:p>
            <a:endParaRPr lang="en-US" dirty="0"/>
          </a:p>
        </p:txBody>
      </p:sp>
      <p:sp>
        <p:nvSpPr>
          <p:cNvPr id="12" name="Slide Number Placeholder 11" hidden="1">
            <a:extLst>
              <a:ext uri="{FF2B5EF4-FFF2-40B4-BE49-F238E27FC236}">
                <a16:creationId xmlns:a16="http://schemas.microsoft.com/office/drawing/2014/main" id="{212E0C1A-F772-4C8C-B2E7-03887DA46ED9}"/>
              </a:ext>
            </a:extLst>
          </p:cNvPr>
          <p:cNvSpPr>
            <a:spLocks noGrp="1"/>
          </p:cNvSpPr>
          <p:nvPr>
            <p:ph type="sldNum" sz="quarter" idx="16"/>
          </p:nvPr>
        </p:nvSpPr>
        <p:spPr/>
        <p:txBody>
          <a:bodyPr/>
          <a:lstStyle/>
          <a:p>
            <a:r>
              <a:rPr lang="en-US"/>
              <a:t> </a:t>
            </a:r>
            <a:endParaRPr lang="en-US" dirty="0"/>
          </a:p>
        </p:txBody>
      </p:sp>
    </p:spTree>
    <p:extLst>
      <p:ext uri="{BB962C8B-B14F-4D97-AF65-F5344CB8AC3E}">
        <p14:creationId xmlns:p14="http://schemas.microsoft.com/office/powerpoint/2010/main" val="2941976750"/>
      </p:ext>
    </p:extLst>
  </p:cSld>
  <p:clrMapOvr>
    <a:masterClrMapping/>
  </p:clrMapOvr>
  <p:hf hdr="0"/>
  <p:extLst mod="1">
    <p:ext uri="{DCECCB84-F9BA-43D5-87BE-67443E8EF086}">
      <p15:sldGuideLst xmlns:p15="http://schemas.microsoft.com/office/powerpoint/2012/main">
        <p15:guide id="1" pos="5604" userDrawn="1">
          <p15:clr>
            <a:srgbClr val="FBAE40"/>
          </p15:clr>
        </p15:guide>
        <p15:guide id="2" pos="156" userDrawn="1">
          <p15:clr>
            <a:srgbClr val="FBAE40"/>
          </p15:clr>
        </p15:guide>
        <p15:guide id="3" orient="horz" pos="600" userDrawn="1">
          <p15:clr>
            <a:srgbClr val="FBAE40"/>
          </p15:clr>
        </p15:guide>
        <p15:guide id="4" orient="horz" pos="3018"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IFX_Agenda">
    <p:spTree>
      <p:nvGrpSpPr>
        <p:cNvPr id="1" name=""/>
        <p:cNvGrpSpPr/>
        <p:nvPr/>
      </p:nvGrpSpPr>
      <p:grpSpPr>
        <a:xfrm>
          <a:off x="0" y="0"/>
          <a:ext cx="0" cy="0"/>
          <a:chOff x="0" y="0"/>
          <a:chExt cx="0" cy="0"/>
        </a:xfrm>
      </p:grpSpPr>
      <p:sp>
        <p:nvSpPr>
          <p:cNvPr id="7" name="empower_document_placeholder" hidden="1">
            <a:extLst>
              <a:ext uri="{FF2B5EF4-FFF2-40B4-BE49-F238E27FC236}">
                <a16:creationId xmlns:a16="http://schemas.microsoft.com/office/drawing/2014/main" id="{FFF0FC12-D2C8-4BAD-95E2-CE9BB9B049B0}"/>
              </a:ext>
            </a:extLst>
          </p:cNvPr>
          <p:cNvSpPr txBox="1"/>
          <p:nvPr>
            <p:custDataLst>
              <p:tags r:id="rId1"/>
            </p:custDataLst>
          </p:nvPr>
        </p:nvSpPr>
        <p:spPr bwMode="auto">
          <a:xfrm rot="16200000">
            <a:off x="8068416" y="3720253"/>
            <a:ext cx="1944000" cy="188119"/>
          </a:xfrm>
          <a:prstGeom prst="rect">
            <a:avLst/>
          </a:prstGeom>
          <a:noFill/>
          <a:ln w="9525">
            <a:noFill/>
            <a:miter lim="800000"/>
            <a:headEnd/>
            <a:tailEnd/>
          </a:ln>
          <a:effectLst/>
        </p:spPr>
        <p:txBody>
          <a:bodyPr wrap="none" lIns="0" tIns="0" rIns="0" bIns="0" rtlCol="0" anchor="ctr" anchorCtr="0">
            <a:noAutofit/>
          </a:bodyPr>
          <a:lstStyle/>
          <a:p>
            <a:pPr marL="0" marR="0" indent="0"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525" kern="0" baseline="0" noProof="0">
                <a:solidFill>
                  <a:srgbClr val="928285"/>
                </a:solidFill>
                <a:latin typeface="+mn-lt"/>
                <a:ea typeface="+mn-ea"/>
                <a:cs typeface="+mn-cs"/>
              </a:rPr>
              <a:t>[Owner:   Doc ID:   Vers.: ]</a:t>
            </a:r>
          </a:p>
        </p:txBody>
      </p:sp>
      <p:sp>
        <p:nvSpPr>
          <p:cNvPr id="9" name="empower_proprietary_placeholder" hidden="1">
            <a:extLst>
              <a:ext uri="{FF2B5EF4-FFF2-40B4-BE49-F238E27FC236}">
                <a16:creationId xmlns:a16="http://schemas.microsoft.com/office/drawing/2014/main" id="{0BDDFA46-F5B0-4BB6-87E6-3417954792B2}"/>
              </a:ext>
            </a:extLst>
          </p:cNvPr>
          <p:cNvSpPr txBox="1"/>
          <p:nvPr>
            <p:custDataLst>
              <p:tags r:id="rId2"/>
            </p:custDataLst>
          </p:nvPr>
        </p:nvSpPr>
        <p:spPr bwMode="auto">
          <a:xfrm>
            <a:off x="7083360" y="4867275"/>
            <a:ext cx="729000" cy="270825"/>
          </a:xfrm>
          <a:prstGeom prst="rect">
            <a:avLst/>
          </a:prstGeom>
          <a:noFill/>
          <a:ln w="9525">
            <a:noFill/>
            <a:miter lim="800000"/>
            <a:headEnd/>
            <a:tailEnd/>
          </a:ln>
          <a:effectLst/>
        </p:spPr>
        <p:txBody>
          <a:bodyPr wrap="none" lIns="0" tIns="0" rIns="0" bIns="0" rtlCol="0" anchor="ctr" anchorCtr="0">
            <a:noAutofit/>
          </a:bodyPr>
          <a:lstStyle/>
          <a:p>
            <a:pPr marL="0" marR="0" indent="0"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600" b="1" kern="0" baseline="0" noProof="0">
                <a:solidFill>
                  <a:srgbClr val="E30034"/>
                </a:solidFill>
                <a:latin typeface="+mn-lt"/>
                <a:ea typeface="+mn-ea"/>
                <a:cs typeface="+mn-cs"/>
              </a:rPr>
              <a:t>Infineon Proprietary</a:t>
            </a:r>
          </a:p>
        </p:txBody>
      </p:sp>
      <p:sp>
        <p:nvSpPr>
          <p:cNvPr id="17" name="empower_additionalText_placeholder" hidden="1">
            <a:extLst>
              <a:ext uri="{FF2B5EF4-FFF2-40B4-BE49-F238E27FC236}">
                <a16:creationId xmlns:a16="http://schemas.microsoft.com/office/drawing/2014/main" id="{5769E316-91CB-4D6E-B73F-31C3CCEAAFEB}"/>
              </a:ext>
            </a:extLst>
          </p:cNvPr>
          <p:cNvSpPr txBox="1"/>
          <p:nvPr>
            <p:custDataLst>
              <p:tags r:id="rId3"/>
            </p:custDataLst>
          </p:nvPr>
        </p:nvSpPr>
        <p:spPr bwMode="auto">
          <a:xfrm>
            <a:off x="1898847" y="4867275"/>
            <a:ext cx="1296000" cy="270825"/>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sz="600" baseline="0" noProof="0">
              <a:latin typeface="+mn-lt"/>
              <a:ea typeface="+mn-ea"/>
              <a:cs typeface="+mn-cs"/>
            </a:endParaRPr>
          </a:p>
        </p:txBody>
      </p:sp>
      <p:sp>
        <p:nvSpPr>
          <p:cNvPr id="10" name="empower_draft_placeholder" hidden="1">
            <a:extLst>
              <a:ext uri="{FF2B5EF4-FFF2-40B4-BE49-F238E27FC236}">
                <a16:creationId xmlns:a16="http://schemas.microsoft.com/office/drawing/2014/main" id="{EB5D3F4D-E18D-43D6-BC78-7B42138EAE8D}"/>
              </a:ext>
            </a:extLst>
          </p:cNvPr>
          <p:cNvSpPr txBox="1"/>
          <p:nvPr>
            <p:custDataLst>
              <p:tags r:id="rId4"/>
            </p:custDataLst>
          </p:nvPr>
        </p:nvSpPr>
        <p:spPr bwMode="auto">
          <a:xfrm>
            <a:off x="6570892" y="4867275"/>
            <a:ext cx="270272" cy="270825"/>
          </a:xfrm>
          <a:prstGeom prst="rect">
            <a:avLst/>
          </a:prstGeom>
          <a:noFill/>
          <a:ln w="9525">
            <a:noFill/>
            <a:miter lim="800000"/>
            <a:headEnd/>
            <a:tailEnd/>
          </a:ln>
          <a:effectLst/>
        </p:spPr>
        <p:txBody>
          <a:bodyPr wrap="none" lIns="0" tIns="0" rIns="0" bIns="0" rtlCol="0" anchor="ctr" anchorCtr="0">
            <a:noAutofit/>
          </a:bodyPr>
          <a:lstStyle/>
          <a:p>
            <a:pPr marL="0" marR="0" indent="0" algn="l"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600" b="1" kern="0" baseline="0" noProof="0">
                <a:solidFill>
                  <a:srgbClr val="E30034"/>
                </a:solidFill>
                <a:latin typeface="+mn-lt"/>
                <a:ea typeface="+mn-ea"/>
                <a:cs typeface="+mn-cs"/>
              </a:rPr>
              <a:t>- DRAFT -</a:t>
            </a:r>
          </a:p>
        </p:txBody>
      </p:sp>
      <p:sp>
        <p:nvSpPr>
          <p:cNvPr id="11" name="empower_footer_placeholder">
            <a:extLst>
              <a:ext uri="{FF2B5EF4-FFF2-40B4-BE49-F238E27FC236}">
                <a16:creationId xmlns:a16="http://schemas.microsoft.com/office/drawing/2014/main" id="{2828881E-C881-4A10-9684-6DDF4156ECCD}"/>
              </a:ext>
            </a:extLst>
          </p:cNvPr>
          <p:cNvSpPr txBox="1"/>
          <p:nvPr>
            <p:custDataLst>
              <p:tags r:id="rId5"/>
            </p:custDataLst>
          </p:nvPr>
        </p:nvSpPr>
        <p:spPr bwMode="auto">
          <a:xfrm>
            <a:off x="3410872" y="4867275"/>
            <a:ext cx="2322257" cy="270825"/>
          </a:xfrm>
          <a:prstGeom prst="rect">
            <a:avLst/>
          </a:prstGeom>
          <a:noFill/>
          <a:ln w="9525">
            <a:noFill/>
            <a:miter lim="800000"/>
            <a:headEnd/>
            <a:tailEnd/>
          </a:ln>
          <a:effectLst/>
        </p:spPr>
        <p:txBody>
          <a:bodyPr wrap="none" lIns="0" tIns="0" rIns="0" bIns="0" rtlCol="0" anchor="ctr" anchorCtr="0">
            <a:noAutofit/>
          </a:bodyPr>
          <a:lstStyle/>
          <a:p>
            <a:pPr marL="0" marR="0" indent="0" algn="ctr" defTabSz="685800" eaLnBrk="0" fontAlgn="auto" latinLnBrk="0" hangingPunct="0">
              <a:spcBef>
                <a:spcPts val="0"/>
              </a:spcBef>
              <a:spcAft>
                <a:spcPts val="225"/>
              </a:spcAft>
              <a:buClr>
                <a:schemeClr val="accent1"/>
              </a:buClr>
              <a:buSzTx/>
              <a:buFont typeface="Arial" panose="020B0604020202020204" pitchFamily="34" charset="0"/>
              <a:buNone/>
              <a:tabLst/>
            </a:pPr>
            <a:r>
              <a:rPr lang="en-GB" sz="600" kern="0" baseline="0" noProof="0">
                <a:solidFill>
                  <a:srgbClr val="928285"/>
                </a:solidFill>
                <a:latin typeface="+mn-lt"/>
                <a:ea typeface="+mn-ea"/>
                <a:cs typeface="+mn-cs"/>
              </a:rPr>
              <a:t>Copyright © Infineon Technologies AG 2022. All rights reserved.</a:t>
            </a:r>
            <a:endParaRPr lang="en-US" sz="600" kern="0" baseline="0" noProof="0">
              <a:solidFill>
                <a:srgbClr val="928285"/>
              </a:solidFill>
              <a:latin typeface="+mn-lt"/>
              <a:ea typeface="+mn-ea"/>
              <a:cs typeface="+mn-cs"/>
            </a:endParaRPr>
          </a:p>
        </p:txBody>
      </p:sp>
      <p:sp>
        <p:nvSpPr>
          <p:cNvPr id="12" name="empower_classification_attention_placeholder" hidden="1">
            <a:extLst>
              <a:ext uri="{FF2B5EF4-FFF2-40B4-BE49-F238E27FC236}">
                <a16:creationId xmlns:a16="http://schemas.microsoft.com/office/drawing/2014/main" id="{DB33BF1D-F784-46C4-9C51-BC117FD6E082}"/>
              </a:ext>
            </a:extLst>
          </p:cNvPr>
          <p:cNvSpPr txBox="1"/>
          <p:nvPr>
            <p:custDataLst>
              <p:tags r:id="rId6"/>
            </p:custDataLst>
          </p:nvPr>
        </p:nvSpPr>
        <p:spPr bwMode="auto">
          <a:xfrm>
            <a:off x="928642" y="4867275"/>
            <a:ext cx="728891" cy="270825"/>
          </a:xfrm>
          <a:prstGeom prst="rect">
            <a:avLst/>
          </a:prstGeom>
          <a:noFill/>
          <a:ln w="9525">
            <a:noFill/>
            <a:miter lim="800000"/>
            <a:headEnd/>
            <a:tailEnd/>
          </a:ln>
          <a:effectLst/>
        </p:spPr>
        <p:txBody>
          <a:bodyPr wrap="none" lIns="0" tIns="0" rIns="0" bIns="0" rtlCol="0" anchor="ctr" anchorCtr="0">
            <a:noAutofit/>
          </a:bodyPr>
          <a:lstStyle/>
          <a:p>
            <a:pPr marL="0" marR="0" indent="0" algn="l"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600" b="1" kern="0" baseline="0" noProof="0">
                <a:solidFill>
                  <a:srgbClr val="E30034"/>
                </a:solidFill>
                <a:latin typeface="+mn-lt"/>
                <a:ea typeface="+mn-ea"/>
                <a:cs typeface="+mn-cs"/>
              </a:rPr>
              <a:t>Restricted</a:t>
            </a:r>
          </a:p>
        </p:txBody>
      </p:sp>
      <p:sp>
        <p:nvSpPr>
          <p:cNvPr id="13" name="empower_classification_placeholder">
            <a:extLst>
              <a:ext uri="{FF2B5EF4-FFF2-40B4-BE49-F238E27FC236}">
                <a16:creationId xmlns:a16="http://schemas.microsoft.com/office/drawing/2014/main" id="{96A62A3F-8D88-4727-B106-3B0FFAC6898D}"/>
              </a:ext>
            </a:extLst>
          </p:cNvPr>
          <p:cNvSpPr txBox="1"/>
          <p:nvPr>
            <p:custDataLst>
              <p:tags r:id="rId7"/>
            </p:custDataLst>
          </p:nvPr>
        </p:nvSpPr>
        <p:spPr bwMode="auto">
          <a:xfrm>
            <a:off x="928642" y="4867275"/>
            <a:ext cx="729938" cy="270825"/>
          </a:xfrm>
          <a:prstGeom prst="rect">
            <a:avLst/>
          </a:prstGeom>
          <a:noFill/>
          <a:ln w="9525">
            <a:noFill/>
            <a:miter lim="800000"/>
            <a:headEnd/>
            <a:tailEnd/>
          </a:ln>
          <a:effectLst/>
        </p:spPr>
        <p:txBody>
          <a:bodyPr wrap="none" lIns="0" tIns="0" rIns="0" bIns="0" rtlCol="0" anchor="ctr" anchorCtr="0">
            <a:noAutofit/>
          </a:bodyPr>
          <a:lstStyle/>
          <a:p>
            <a:pPr marL="0" marR="0" indent="0" algn="l"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600" b="1" kern="0" baseline="0" noProof="0">
                <a:solidFill>
                  <a:srgbClr val="928285"/>
                </a:solidFill>
                <a:latin typeface="+mn-lt"/>
                <a:ea typeface="+mn-ea"/>
                <a:cs typeface="+mn-cs"/>
              </a:rPr>
              <a:t>restricted</a:t>
            </a:r>
          </a:p>
        </p:txBody>
      </p:sp>
      <p:sp>
        <p:nvSpPr>
          <p:cNvPr id="14" name="empower_date_placeholder">
            <a:extLst>
              <a:ext uri="{FF2B5EF4-FFF2-40B4-BE49-F238E27FC236}">
                <a16:creationId xmlns:a16="http://schemas.microsoft.com/office/drawing/2014/main" id="{0D4C3B03-A49F-481B-9F5A-D907E4D8C350}"/>
              </a:ext>
            </a:extLst>
          </p:cNvPr>
          <p:cNvSpPr txBox="1"/>
          <p:nvPr>
            <p:custDataLst>
              <p:tags r:id="rId8"/>
            </p:custDataLst>
          </p:nvPr>
        </p:nvSpPr>
        <p:spPr bwMode="auto">
          <a:xfrm>
            <a:off x="251222" y="4867275"/>
            <a:ext cx="459000" cy="270825"/>
          </a:xfrm>
          <a:prstGeom prst="rect">
            <a:avLst/>
          </a:prstGeom>
          <a:noFill/>
          <a:ln w="9525">
            <a:noFill/>
            <a:miter lim="800000"/>
            <a:headEnd/>
            <a:tailEnd/>
          </a:ln>
          <a:effectLst/>
        </p:spPr>
        <p:txBody>
          <a:bodyPr wrap="none" lIns="0" tIns="0" rIns="0" bIns="0" rtlCol="0" anchor="ctr" anchorCtr="0">
            <a:noAutofit/>
          </a:bodyPr>
          <a:lstStyle/>
          <a:p>
            <a:pPr marL="0" marR="0" indent="0"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600" kern="0" baseline="0" noProof="0">
                <a:solidFill>
                  <a:srgbClr val="928285"/>
                </a:solidFill>
                <a:latin typeface="+mn-lt"/>
                <a:ea typeface="+mn-ea"/>
                <a:cs typeface="+mn-cs"/>
              </a:rPr>
              <a:t>2022-07-16</a:t>
            </a:r>
          </a:p>
        </p:txBody>
      </p:sp>
      <p:sp>
        <p:nvSpPr>
          <p:cNvPr id="38" name="Topic 1"/>
          <p:cNvSpPr>
            <a:spLocks noGrp="1"/>
          </p:cNvSpPr>
          <p:nvPr>
            <p:ph type="body" idx="17" hasCustomPrompt="1"/>
          </p:nvPr>
        </p:nvSpPr>
        <p:spPr>
          <a:xfrm>
            <a:off x="926306" y="951309"/>
            <a:ext cx="7965000" cy="432054"/>
          </a:xfrm>
          <a:prstGeom prst="rect">
            <a:avLst/>
          </a:prstGeom>
          <a:noFill/>
        </p:spPr>
        <p:txBody>
          <a:bodyPr wrap="square" lIns="0" anchor="ctr">
            <a:noAutofit/>
          </a:bodyPr>
          <a:lstStyle>
            <a:lvl1pPr marL="0" indent="0" fontAlgn="auto">
              <a:buNone/>
              <a:defRPr sz="1500" baseline="0">
                <a:latin typeface="+mn-lt"/>
                <a:ea typeface="+mn-ea"/>
                <a:cs typeface="+mn-cs"/>
              </a:defRPr>
            </a:lvl1pPr>
            <a:lvl2pPr fontAlgn="auto">
              <a:defRPr/>
            </a:lvl2pPr>
            <a:lvl3pPr fontAlgn="auto">
              <a:defRPr/>
            </a:lvl3pPr>
            <a:lvl4pPr fontAlgn="auto">
              <a:defRPr/>
            </a:lvl4pPr>
            <a:lvl5pPr fontAlgn="auto">
              <a:defRPr/>
            </a:lvl5pPr>
          </a:lstStyle>
          <a:p>
            <a:pPr lvl="0"/>
            <a:r>
              <a:rPr lang="en-US" noProof="0"/>
              <a:t>Click to edit text</a:t>
            </a:r>
          </a:p>
        </p:txBody>
      </p:sp>
      <p:sp>
        <p:nvSpPr>
          <p:cNvPr id="39" name="Topic 2"/>
          <p:cNvSpPr>
            <a:spLocks noGrp="1"/>
          </p:cNvSpPr>
          <p:nvPr>
            <p:ph type="body" sz="quarter" idx="18" hasCustomPrompt="1"/>
          </p:nvPr>
        </p:nvSpPr>
        <p:spPr>
          <a:xfrm>
            <a:off x="926306" y="1437370"/>
            <a:ext cx="7965000" cy="432054"/>
          </a:xfrm>
          <a:prstGeom prst="rect">
            <a:avLst/>
          </a:prstGeom>
          <a:noFill/>
        </p:spPr>
        <p:txBody>
          <a:bodyPr wrap="square" lIns="0" anchor="ctr">
            <a:noAutofit/>
          </a:bodyPr>
          <a:lstStyle>
            <a:lvl1pPr marL="0" indent="0" fontAlgn="auto">
              <a:buNone/>
              <a:defRPr sz="1500" baseline="0">
                <a:latin typeface="+mn-lt"/>
                <a:ea typeface="+mn-ea"/>
                <a:cs typeface="+mn-cs"/>
              </a:defRPr>
            </a:lvl1pPr>
            <a:lvl2pPr fontAlgn="auto">
              <a:defRPr/>
            </a:lvl2pPr>
            <a:lvl3pPr fontAlgn="auto">
              <a:defRPr/>
            </a:lvl3pPr>
            <a:lvl4pPr fontAlgn="auto">
              <a:defRPr/>
            </a:lvl4pPr>
            <a:lvl5pPr fontAlgn="auto">
              <a:defRPr/>
            </a:lvl5pPr>
          </a:lstStyle>
          <a:p>
            <a:pPr lvl="0"/>
            <a:r>
              <a:rPr lang="en-US" noProof="0"/>
              <a:t>Click to edit text</a:t>
            </a:r>
          </a:p>
        </p:txBody>
      </p:sp>
      <p:sp>
        <p:nvSpPr>
          <p:cNvPr id="40" name="Topic 3"/>
          <p:cNvSpPr>
            <a:spLocks noGrp="1"/>
          </p:cNvSpPr>
          <p:nvPr>
            <p:ph type="body" sz="quarter" idx="19" hasCustomPrompt="1"/>
          </p:nvPr>
        </p:nvSpPr>
        <p:spPr>
          <a:xfrm>
            <a:off x="926306" y="1923431"/>
            <a:ext cx="7965000" cy="432054"/>
          </a:xfrm>
          <a:prstGeom prst="rect">
            <a:avLst/>
          </a:prstGeom>
          <a:noFill/>
        </p:spPr>
        <p:txBody>
          <a:bodyPr wrap="square" lIns="0" anchor="ctr">
            <a:noAutofit/>
          </a:bodyPr>
          <a:lstStyle>
            <a:lvl1pPr marL="0" indent="0" fontAlgn="auto">
              <a:buNone/>
              <a:defRPr sz="1500" baseline="0">
                <a:latin typeface="+mn-lt"/>
                <a:ea typeface="+mn-ea"/>
                <a:cs typeface="+mn-cs"/>
              </a:defRPr>
            </a:lvl1pPr>
            <a:lvl2pPr fontAlgn="auto">
              <a:defRPr/>
            </a:lvl2pPr>
            <a:lvl3pPr fontAlgn="auto">
              <a:defRPr/>
            </a:lvl3pPr>
            <a:lvl4pPr fontAlgn="auto">
              <a:defRPr/>
            </a:lvl4pPr>
            <a:lvl5pPr fontAlgn="auto">
              <a:defRPr/>
            </a:lvl5pPr>
          </a:lstStyle>
          <a:p>
            <a:pPr lvl="0"/>
            <a:r>
              <a:rPr lang="en-US" noProof="0"/>
              <a:t>Click to edit text</a:t>
            </a:r>
          </a:p>
        </p:txBody>
      </p:sp>
      <p:sp>
        <p:nvSpPr>
          <p:cNvPr id="41" name="Topic 4"/>
          <p:cNvSpPr>
            <a:spLocks noGrp="1"/>
          </p:cNvSpPr>
          <p:nvPr>
            <p:ph type="body" sz="quarter" idx="20" hasCustomPrompt="1"/>
          </p:nvPr>
        </p:nvSpPr>
        <p:spPr>
          <a:xfrm>
            <a:off x="926306" y="2409491"/>
            <a:ext cx="7965000" cy="432054"/>
          </a:xfrm>
          <a:prstGeom prst="rect">
            <a:avLst/>
          </a:prstGeom>
          <a:noFill/>
        </p:spPr>
        <p:txBody>
          <a:bodyPr wrap="square" lIns="0" anchor="ctr">
            <a:noAutofit/>
          </a:bodyPr>
          <a:lstStyle>
            <a:lvl1pPr marL="0" indent="0" fontAlgn="auto">
              <a:buNone/>
              <a:defRPr sz="1500" baseline="0">
                <a:latin typeface="+mn-lt"/>
                <a:ea typeface="+mn-ea"/>
                <a:cs typeface="+mn-cs"/>
              </a:defRPr>
            </a:lvl1pPr>
            <a:lvl2pPr fontAlgn="auto">
              <a:defRPr/>
            </a:lvl2pPr>
            <a:lvl3pPr fontAlgn="auto">
              <a:defRPr/>
            </a:lvl3pPr>
            <a:lvl4pPr fontAlgn="auto">
              <a:defRPr/>
            </a:lvl4pPr>
            <a:lvl5pPr fontAlgn="auto">
              <a:defRPr/>
            </a:lvl5pPr>
          </a:lstStyle>
          <a:p>
            <a:pPr lvl="0"/>
            <a:r>
              <a:rPr lang="en-US" noProof="0"/>
              <a:t>Click to edit text</a:t>
            </a:r>
          </a:p>
        </p:txBody>
      </p:sp>
      <p:sp>
        <p:nvSpPr>
          <p:cNvPr id="42" name="Topic 5"/>
          <p:cNvSpPr>
            <a:spLocks noGrp="1"/>
          </p:cNvSpPr>
          <p:nvPr>
            <p:ph type="body" sz="quarter" idx="21" hasCustomPrompt="1"/>
          </p:nvPr>
        </p:nvSpPr>
        <p:spPr>
          <a:xfrm>
            <a:off x="926306" y="2895552"/>
            <a:ext cx="7965000" cy="432054"/>
          </a:xfrm>
          <a:prstGeom prst="rect">
            <a:avLst/>
          </a:prstGeom>
          <a:noFill/>
        </p:spPr>
        <p:txBody>
          <a:bodyPr wrap="square" lIns="0" anchor="ctr">
            <a:noAutofit/>
          </a:bodyPr>
          <a:lstStyle>
            <a:lvl1pPr marL="0" indent="0" fontAlgn="auto">
              <a:buNone/>
              <a:defRPr sz="1500" baseline="0">
                <a:latin typeface="+mn-lt"/>
                <a:ea typeface="+mn-ea"/>
                <a:cs typeface="+mn-cs"/>
              </a:defRPr>
            </a:lvl1pPr>
            <a:lvl2pPr fontAlgn="auto">
              <a:defRPr/>
            </a:lvl2pPr>
            <a:lvl3pPr fontAlgn="auto">
              <a:defRPr/>
            </a:lvl3pPr>
            <a:lvl4pPr fontAlgn="auto">
              <a:defRPr/>
            </a:lvl4pPr>
            <a:lvl5pPr fontAlgn="auto">
              <a:defRPr/>
            </a:lvl5pPr>
          </a:lstStyle>
          <a:p>
            <a:pPr lvl="0"/>
            <a:r>
              <a:rPr lang="en-US" noProof="0"/>
              <a:t>Click to edit text</a:t>
            </a:r>
          </a:p>
        </p:txBody>
      </p:sp>
      <p:sp>
        <p:nvSpPr>
          <p:cNvPr id="43" name="Topic 6"/>
          <p:cNvSpPr>
            <a:spLocks noGrp="1"/>
          </p:cNvSpPr>
          <p:nvPr>
            <p:ph type="body" sz="quarter" idx="22" hasCustomPrompt="1"/>
          </p:nvPr>
        </p:nvSpPr>
        <p:spPr>
          <a:xfrm>
            <a:off x="926306" y="3381613"/>
            <a:ext cx="7965000" cy="432054"/>
          </a:xfrm>
          <a:prstGeom prst="rect">
            <a:avLst/>
          </a:prstGeom>
          <a:noFill/>
        </p:spPr>
        <p:txBody>
          <a:bodyPr wrap="square" lIns="0" anchor="ctr">
            <a:noAutofit/>
          </a:bodyPr>
          <a:lstStyle>
            <a:lvl1pPr marL="0" indent="0" fontAlgn="auto">
              <a:buNone/>
              <a:defRPr sz="1500" baseline="0">
                <a:latin typeface="+mn-lt"/>
                <a:ea typeface="+mn-ea"/>
                <a:cs typeface="+mn-cs"/>
              </a:defRPr>
            </a:lvl1pPr>
            <a:lvl2pPr fontAlgn="auto">
              <a:defRPr/>
            </a:lvl2pPr>
            <a:lvl3pPr fontAlgn="auto">
              <a:defRPr/>
            </a:lvl3pPr>
            <a:lvl4pPr fontAlgn="auto">
              <a:defRPr/>
            </a:lvl4pPr>
            <a:lvl5pPr fontAlgn="auto">
              <a:defRPr/>
            </a:lvl5pPr>
          </a:lstStyle>
          <a:p>
            <a:pPr lvl="0"/>
            <a:r>
              <a:rPr lang="en-US" noProof="0"/>
              <a:t>Click to edit text</a:t>
            </a:r>
          </a:p>
        </p:txBody>
      </p:sp>
      <p:sp>
        <p:nvSpPr>
          <p:cNvPr id="44" name="Topic 7"/>
          <p:cNvSpPr>
            <a:spLocks noGrp="1"/>
          </p:cNvSpPr>
          <p:nvPr>
            <p:ph type="body" sz="quarter" idx="23" hasCustomPrompt="1"/>
          </p:nvPr>
        </p:nvSpPr>
        <p:spPr>
          <a:xfrm>
            <a:off x="926306" y="3867674"/>
            <a:ext cx="7965000" cy="432054"/>
          </a:xfrm>
          <a:prstGeom prst="rect">
            <a:avLst/>
          </a:prstGeom>
          <a:noFill/>
        </p:spPr>
        <p:txBody>
          <a:bodyPr wrap="square" lIns="0" anchor="ctr">
            <a:noAutofit/>
          </a:bodyPr>
          <a:lstStyle>
            <a:lvl1pPr marL="0" indent="0" fontAlgn="auto">
              <a:buNone/>
              <a:defRPr sz="1500" baseline="0">
                <a:latin typeface="+mn-lt"/>
                <a:ea typeface="+mn-ea"/>
                <a:cs typeface="+mn-cs"/>
              </a:defRPr>
            </a:lvl1pPr>
            <a:lvl2pPr fontAlgn="auto">
              <a:defRPr/>
            </a:lvl2pPr>
            <a:lvl3pPr fontAlgn="auto">
              <a:defRPr/>
            </a:lvl3pPr>
            <a:lvl4pPr fontAlgn="auto">
              <a:defRPr/>
            </a:lvl4pPr>
            <a:lvl5pPr fontAlgn="auto">
              <a:defRPr/>
            </a:lvl5pPr>
          </a:lstStyle>
          <a:p>
            <a:pPr lvl="0"/>
            <a:r>
              <a:rPr lang="en-US" noProof="0"/>
              <a:t>Click to edit text</a:t>
            </a:r>
          </a:p>
        </p:txBody>
      </p:sp>
      <p:sp>
        <p:nvSpPr>
          <p:cNvPr id="45" name="Topic 8"/>
          <p:cNvSpPr>
            <a:spLocks noGrp="1"/>
          </p:cNvSpPr>
          <p:nvPr>
            <p:ph type="body" sz="quarter" idx="24" hasCustomPrompt="1"/>
          </p:nvPr>
        </p:nvSpPr>
        <p:spPr>
          <a:xfrm>
            <a:off x="926306" y="4353734"/>
            <a:ext cx="7965000" cy="432054"/>
          </a:xfrm>
          <a:prstGeom prst="rect">
            <a:avLst/>
          </a:prstGeom>
          <a:noFill/>
        </p:spPr>
        <p:txBody>
          <a:bodyPr wrap="square" lIns="0" anchor="ctr">
            <a:noAutofit/>
          </a:bodyPr>
          <a:lstStyle>
            <a:lvl1pPr marL="0" indent="0" fontAlgn="auto">
              <a:buNone/>
              <a:defRPr sz="1500" baseline="0">
                <a:latin typeface="+mn-lt"/>
                <a:ea typeface="+mn-ea"/>
                <a:cs typeface="+mn-cs"/>
              </a:defRPr>
            </a:lvl1pPr>
            <a:lvl2pPr fontAlgn="auto">
              <a:defRPr/>
            </a:lvl2pPr>
            <a:lvl3pPr fontAlgn="auto">
              <a:defRPr/>
            </a:lvl3pPr>
            <a:lvl4pPr fontAlgn="auto">
              <a:defRPr/>
            </a:lvl4pPr>
            <a:lvl5pPr fontAlgn="auto">
              <a:defRPr/>
            </a:lvl5pPr>
          </a:lstStyle>
          <a:p>
            <a:pPr lvl="0"/>
            <a:r>
              <a:rPr lang="en-US" noProof="0"/>
              <a:t>Click to edit text</a:t>
            </a:r>
          </a:p>
        </p:txBody>
      </p:sp>
      <p:sp>
        <p:nvSpPr>
          <p:cNvPr id="46" name="No 1"/>
          <p:cNvSpPr>
            <a:spLocks noGrp="1"/>
          </p:cNvSpPr>
          <p:nvPr>
            <p:ph type="body" idx="28" hasCustomPrompt="1"/>
          </p:nvPr>
        </p:nvSpPr>
        <p:spPr>
          <a:xfrm>
            <a:off x="250825" y="951309"/>
            <a:ext cx="432000" cy="432054"/>
          </a:xfrm>
          <a:prstGeom prst="ellipse">
            <a:avLst/>
          </a:prstGeom>
          <a:solidFill>
            <a:schemeClr val="accent4"/>
          </a:solidFill>
        </p:spPr>
        <p:txBody>
          <a:bodyPr wrap="square" lIns="0" anchor="ctr">
            <a:noAutofit/>
          </a:bodyPr>
          <a:lstStyle>
            <a:lvl1pPr marL="0" indent="0" algn="ctr" fontAlgn="auto">
              <a:buNone/>
              <a:defRPr sz="1500" baseline="0">
                <a:solidFill>
                  <a:schemeClr val="bg1"/>
                </a:solidFill>
                <a:latin typeface="+mn-lt"/>
                <a:ea typeface="+mn-ea"/>
                <a:cs typeface="+mn-cs"/>
              </a:defRPr>
            </a:lvl1pPr>
            <a:lvl2pPr fontAlgn="auto">
              <a:defRPr/>
            </a:lvl2pPr>
            <a:lvl3pPr fontAlgn="auto">
              <a:defRPr/>
            </a:lvl3pPr>
            <a:lvl4pPr fontAlgn="auto">
              <a:defRPr/>
            </a:lvl4pPr>
            <a:lvl5pPr fontAlgn="auto">
              <a:defRPr/>
            </a:lvl5pPr>
          </a:lstStyle>
          <a:p>
            <a:pPr lvl="0"/>
            <a:r>
              <a:rPr lang="en-US" noProof="0"/>
              <a:t>Nr.</a:t>
            </a:r>
          </a:p>
        </p:txBody>
      </p:sp>
      <p:sp>
        <p:nvSpPr>
          <p:cNvPr id="47" name="No 2"/>
          <p:cNvSpPr>
            <a:spLocks noGrp="1"/>
          </p:cNvSpPr>
          <p:nvPr>
            <p:ph type="body" idx="29" hasCustomPrompt="1"/>
          </p:nvPr>
        </p:nvSpPr>
        <p:spPr>
          <a:xfrm>
            <a:off x="250825" y="1437445"/>
            <a:ext cx="432000" cy="432054"/>
          </a:xfrm>
          <a:prstGeom prst="ellipse">
            <a:avLst/>
          </a:prstGeom>
          <a:solidFill>
            <a:schemeClr val="accent4"/>
          </a:solidFill>
        </p:spPr>
        <p:txBody>
          <a:bodyPr wrap="square" lIns="0" anchor="ctr">
            <a:noAutofit/>
          </a:bodyPr>
          <a:lstStyle>
            <a:lvl1pPr marL="0" indent="0" algn="ctr" fontAlgn="auto">
              <a:buNone/>
              <a:defRPr sz="1500" baseline="0">
                <a:solidFill>
                  <a:schemeClr val="bg1"/>
                </a:solidFill>
                <a:latin typeface="+mn-lt"/>
                <a:ea typeface="+mn-ea"/>
                <a:cs typeface="+mn-cs"/>
              </a:defRPr>
            </a:lvl1pPr>
            <a:lvl2pPr fontAlgn="auto">
              <a:defRPr/>
            </a:lvl2pPr>
            <a:lvl3pPr fontAlgn="auto">
              <a:defRPr/>
            </a:lvl3pPr>
            <a:lvl4pPr fontAlgn="auto">
              <a:defRPr/>
            </a:lvl4pPr>
            <a:lvl5pPr fontAlgn="auto">
              <a:defRPr/>
            </a:lvl5pPr>
          </a:lstStyle>
          <a:p>
            <a:pPr lvl="0"/>
            <a:r>
              <a:rPr lang="en-US" noProof="0"/>
              <a:t>Nr.</a:t>
            </a:r>
          </a:p>
        </p:txBody>
      </p:sp>
      <p:sp>
        <p:nvSpPr>
          <p:cNvPr id="48" name="No 3"/>
          <p:cNvSpPr>
            <a:spLocks noGrp="1"/>
          </p:cNvSpPr>
          <p:nvPr>
            <p:ph type="body" idx="30" hasCustomPrompt="1"/>
          </p:nvPr>
        </p:nvSpPr>
        <p:spPr>
          <a:xfrm>
            <a:off x="250825" y="1923581"/>
            <a:ext cx="432000" cy="432054"/>
          </a:xfrm>
          <a:prstGeom prst="ellipse">
            <a:avLst/>
          </a:prstGeom>
          <a:solidFill>
            <a:schemeClr val="accent4"/>
          </a:solidFill>
        </p:spPr>
        <p:txBody>
          <a:bodyPr wrap="square" lIns="0" anchor="ctr">
            <a:noAutofit/>
          </a:bodyPr>
          <a:lstStyle>
            <a:lvl1pPr marL="0" indent="0" algn="ctr" fontAlgn="auto">
              <a:buNone/>
              <a:defRPr sz="1500" baseline="0">
                <a:solidFill>
                  <a:schemeClr val="bg1"/>
                </a:solidFill>
                <a:latin typeface="+mn-lt"/>
                <a:ea typeface="+mn-ea"/>
                <a:cs typeface="+mn-cs"/>
              </a:defRPr>
            </a:lvl1pPr>
            <a:lvl2pPr fontAlgn="auto">
              <a:defRPr/>
            </a:lvl2pPr>
            <a:lvl3pPr fontAlgn="auto">
              <a:defRPr/>
            </a:lvl3pPr>
            <a:lvl4pPr fontAlgn="auto">
              <a:defRPr/>
            </a:lvl4pPr>
            <a:lvl5pPr fontAlgn="auto">
              <a:defRPr/>
            </a:lvl5pPr>
          </a:lstStyle>
          <a:p>
            <a:pPr lvl="0"/>
            <a:r>
              <a:rPr lang="en-US" noProof="0"/>
              <a:t>Nr.</a:t>
            </a:r>
          </a:p>
        </p:txBody>
      </p:sp>
      <p:sp>
        <p:nvSpPr>
          <p:cNvPr id="49" name="No 4"/>
          <p:cNvSpPr>
            <a:spLocks noGrp="1"/>
          </p:cNvSpPr>
          <p:nvPr>
            <p:ph type="body" idx="31" hasCustomPrompt="1"/>
          </p:nvPr>
        </p:nvSpPr>
        <p:spPr>
          <a:xfrm>
            <a:off x="250825" y="2409716"/>
            <a:ext cx="432000" cy="432054"/>
          </a:xfrm>
          <a:prstGeom prst="ellipse">
            <a:avLst/>
          </a:prstGeom>
          <a:solidFill>
            <a:schemeClr val="accent4"/>
          </a:solidFill>
        </p:spPr>
        <p:txBody>
          <a:bodyPr wrap="square" lIns="0" anchor="ctr">
            <a:noAutofit/>
          </a:bodyPr>
          <a:lstStyle>
            <a:lvl1pPr marL="0" indent="0" algn="ctr" fontAlgn="auto">
              <a:buNone/>
              <a:defRPr sz="1500" baseline="0">
                <a:solidFill>
                  <a:schemeClr val="bg1"/>
                </a:solidFill>
                <a:latin typeface="+mn-lt"/>
                <a:ea typeface="+mn-ea"/>
                <a:cs typeface="+mn-cs"/>
              </a:defRPr>
            </a:lvl1pPr>
            <a:lvl2pPr fontAlgn="auto">
              <a:defRPr/>
            </a:lvl2pPr>
            <a:lvl3pPr fontAlgn="auto">
              <a:defRPr/>
            </a:lvl3pPr>
            <a:lvl4pPr fontAlgn="auto">
              <a:defRPr/>
            </a:lvl4pPr>
            <a:lvl5pPr fontAlgn="auto">
              <a:defRPr/>
            </a:lvl5pPr>
          </a:lstStyle>
          <a:p>
            <a:pPr lvl="0"/>
            <a:r>
              <a:rPr lang="en-US" noProof="0"/>
              <a:t>Nr.</a:t>
            </a:r>
          </a:p>
        </p:txBody>
      </p:sp>
      <p:sp>
        <p:nvSpPr>
          <p:cNvPr id="50" name="No 5"/>
          <p:cNvSpPr>
            <a:spLocks noGrp="1"/>
          </p:cNvSpPr>
          <p:nvPr>
            <p:ph type="body" idx="32" hasCustomPrompt="1"/>
          </p:nvPr>
        </p:nvSpPr>
        <p:spPr>
          <a:xfrm>
            <a:off x="250825" y="2895852"/>
            <a:ext cx="432000" cy="432054"/>
          </a:xfrm>
          <a:prstGeom prst="ellipse">
            <a:avLst/>
          </a:prstGeom>
          <a:solidFill>
            <a:schemeClr val="accent4"/>
          </a:solidFill>
        </p:spPr>
        <p:txBody>
          <a:bodyPr wrap="square" lIns="0" anchor="ctr">
            <a:noAutofit/>
          </a:bodyPr>
          <a:lstStyle>
            <a:lvl1pPr marL="0" indent="0" algn="ctr" fontAlgn="auto">
              <a:buNone/>
              <a:defRPr sz="1500" baseline="0">
                <a:solidFill>
                  <a:schemeClr val="bg1"/>
                </a:solidFill>
                <a:latin typeface="+mn-lt"/>
                <a:ea typeface="+mn-ea"/>
                <a:cs typeface="+mn-cs"/>
              </a:defRPr>
            </a:lvl1pPr>
            <a:lvl2pPr fontAlgn="auto">
              <a:defRPr/>
            </a:lvl2pPr>
            <a:lvl3pPr fontAlgn="auto">
              <a:defRPr/>
            </a:lvl3pPr>
            <a:lvl4pPr fontAlgn="auto">
              <a:defRPr/>
            </a:lvl4pPr>
            <a:lvl5pPr fontAlgn="auto">
              <a:defRPr/>
            </a:lvl5pPr>
          </a:lstStyle>
          <a:p>
            <a:pPr lvl="0"/>
            <a:r>
              <a:rPr lang="en-US" noProof="0"/>
              <a:t>Nr.</a:t>
            </a:r>
          </a:p>
        </p:txBody>
      </p:sp>
      <p:sp>
        <p:nvSpPr>
          <p:cNvPr id="51" name="No 6"/>
          <p:cNvSpPr>
            <a:spLocks noGrp="1"/>
          </p:cNvSpPr>
          <p:nvPr>
            <p:ph type="body" idx="33" hasCustomPrompt="1"/>
          </p:nvPr>
        </p:nvSpPr>
        <p:spPr>
          <a:xfrm>
            <a:off x="250825" y="3381988"/>
            <a:ext cx="432000" cy="432054"/>
          </a:xfrm>
          <a:prstGeom prst="ellipse">
            <a:avLst/>
          </a:prstGeom>
          <a:solidFill>
            <a:schemeClr val="accent4"/>
          </a:solidFill>
        </p:spPr>
        <p:txBody>
          <a:bodyPr wrap="square" lIns="0" anchor="ctr">
            <a:noAutofit/>
          </a:bodyPr>
          <a:lstStyle>
            <a:lvl1pPr marL="0" indent="0" algn="ctr" fontAlgn="auto">
              <a:buNone/>
              <a:defRPr sz="1500" baseline="0">
                <a:solidFill>
                  <a:schemeClr val="bg1"/>
                </a:solidFill>
                <a:latin typeface="+mn-lt"/>
                <a:ea typeface="+mn-ea"/>
                <a:cs typeface="+mn-cs"/>
              </a:defRPr>
            </a:lvl1pPr>
            <a:lvl2pPr fontAlgn="auto">
              <a:defRPr/>
            </a:lvl2pPr>
            <a:lvl3pPr fontAlgn="auto">
              <a:defRPr/>
            </a:lvl3pPr>
            <a:lvl4pPr fontAlgn="auto">
              <a:defRPr/>
            </a:lvl4pPr>
            <a:lvl5pPr fontAlgn="auto">
              <a:defRPr/>
            </a:lvl5pPr>
          </a:lstStyle>
          <a:p>
            <a:pPr lvl="0"/>
            <a:r>
              <a:rPr lang="en-US" noProof="0"/>
              <a:t>Nr.</a:t>
            </a:r>
          </a:p>
        </p:txBody>
      </p:sp>
      <p:sp>
        <p:nvSpPr>
          <p:cNvPr id="52" name="No 7"/>
          <p:cNvSpPr>
            <a:spLocks noGrp="1"/>
          </p:cNvSpPr>
          <p:nvPr>
            <p:ph type="body" idx="34" hasCustomPrompt="1"/>
          </p:nvPr>
        </p:nvSpPr>
        <p:spPr>
          <a:xfrm>
            <a:off x="250825" y="3868124"/>
            <a:ext cx="432000" cy="432054"/>
          </a:xfrm>
          <a:prstGeom prst="ellipse">
            <a:avLst/>
          </a:prstGeom>
          <a:solidFill>
            <a:schemeClr val="accent4"/>
          </a:solidFill>
        </p:spPr>
        <p:txBody>
          <a:bodyPr wrap="square" lIns="0" anchor="ctr">
            <a:noAutofit/>
          </a:bodyPr>
          <a:lstStyle>
            <a:lvl1pPr marL="0" indent="0" algn="ctr" fontAlgn="auto">
              <a:buNone/>
              <a:defRPr sz="1500" baseline="0">
                <a:solidFill>
                  <a:schemeClr val="bg1"/>
                </a:solidFill>
                <a:latin typeface="+mn-lt"/>
                <a:ea typeface="+mn-ea"/>
                <a:cs typeface="+mn-cs"/>
              </a:defRPr>
            </a:lvl1pPr>
            <a:lvl2pPr fontAlgn="auto">
              <a:defRPr/>
            </a:lvl2pPr>
            <a:lvl3pPr fontAlgn="auto">
              <a:defRPr/>
            </a:lvl3pPr>
            <a:lvl4pPr fontAlgn="auto">
              <a:defRPr/>
            </a:lvl4pPr>
            <a:lvl5pPr fontAlgn="auto">
              <a:defRPr/>
            </a:lvl5pPr>
          </a:lstStyle>
          <a:p>
            <a:pPr lvl="0"/>
            <a:r>
              <a:rPr lang="en-US" noProof="0"/>
              <a:t>Nr.</a:t>
            </a:r>
          </a:p>
        </p:txBody>
      </p:sp>
      <p:sp>
        <p:nvSpPr>
          <p:cNvPr id="53" name="No 8"/>
          <p:cNvSpPr>
            <a:spLocks noGrp="1"/>
          </p:cNvSpPr>
          <p:nvPr>
            <p:ph type="body" idx="35" hasCustomPrompt="1"/>
          </p:nvPr>
        </p:nvSpPr>
        <p:spPr>
          <a:xfrm>
            <a:off x="250825" y="4354259"/>
            <a:ext cx="432000" cy="432054"/>
          </a:xfrm>
          <a:prstGeom prst="ellipse">
            <a:avLst/>
          </a:prstGeom>
          <a:solidFill>
            <a:schemeClr val="accent4"/>
          </a:solidFill>
        </p:spPr>
        <p:txBody>
          <a:bodyPr wrap="square" lIns="0" anchor="ctr">
            <a:noAutofit/>
          </a:bodyPr>
          <a:lstStyle>
            <a:lvl1pPr marL="0" indent="0" algn="ctr" fontAlgn="auto">
              <a:buNone/>
              <a:defRPr sz="1500" baseline="0">
                <a:solidFill>
                  <a:schemeClr val="bg1"/>
                </a:solidFill>
                <a:latin typeface="+mn-lt"/>
                <a:ea typeface="+mn-ea"/>
                <a:cs typeface="+mn-cs"/>
              </a:defRPr>
            </a:lvl1pPr>
            <a:lvl2pPr fontAlgn="auto">
              <a:defRPr/>
            </a:lvl2pPr>
            <a:lvl3pPr fontAlgn="auto">
              <a:defRPr/>
            </a:lvl3pPr>
            <a:lvl4pPr fontAlgn="auto">
              <a:defRPr/>
            </a:lvl4pPr>
            <a:lvl5pPr fontAlgn="auto">
              <a:defRPr/>
            </a:lvl5pPr>
          </a:lstStyle>
          <a:p>
            <a:pPr lvl="0"/>
            <a:r>
              <a:rPr lang="en-US" noProof="0"/>
              <a:t>Nr.</a:t>
            </a:r>
          </a:p>
        </p:txBody>
      </p:sp>
      <p:sp>
        <p:nvSpPr>
          <p:cNvPr id="6" name="Title">
            <a:extLst>
              <a:ext uri="{FF2B5EF4-FFF2-40B4-BE49-F238E27FC236}">
                <a16:creationId xmlns:a16="http://schemas.microsoft.com/office/drawing/2014/main" id="{7B94D8A8-4B77-4829-982D-1A3D414A0E71}"/>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77EB33F8-02F3-4EEB-93FB-9B514FC31EC4}"/>
              </a:ext>
            </a:extLst>
          </p:cNvPr>
          <p:cNvSpPr/>
          <p:nvPr>
            <p:custDataLst>
              <p:tags r:id="rId9"/>
            </p:custDataLst>
          </p:nvPr>
        </p:nvSpPr>
        <p:spPr bwMode="auto">
          <a:xfrm>
            <a:off x="7598463" y="1"/>
            <a:ext cx="1545538" cy="627534"/>
          </a:xfrm>
          <a:prstGeom prst="rect">
            <a:avLst/>
          </a:prstGeom>
          <a:solidFill>
            <a:schemeClr val="accent3">
              <a:alpha val="50000"/>
            </a:schemeClr>
          </a:solidFill>
          <a:ln w="9525">
            <a:noFill/>
            <a:miter lim="800000"/>
            <a:headEnd/>
            <a:tailEnd/>
          </a:ln>
        </p:spPr>
        <p:txBody>
          <a:bodyPr wrap="square" lIns="54000" tIns="54000" rIns="54000" bIns="54000" rtlCol="0" anchor="ctr"/>
          <a:lstStyle/>
          <a:p>
            <a:pPr algn="ctr" eaLnBrk="0" hangingPunct="0"/>
            <a:endParaRPr lang="en-US" sz="1200" baseline="0" noProof="0">
              <a:latin typeface="+mn-lt"/>
              <a:ea typeface="+mn-ea"/>
              <a:cs typeface="+mn-cs"/>
            </a:endParaRPr>
          </a:p>
        </p:txBody>
      </p:sp>
      <p:sp>
        <p:nvSpPr>
          <p:cNvPr id="15" name="MIO_AGENDA_IGNORE_NAVIGATION" hidden="1">
            <a:extLst>
              <a:ext uri="{FF2B5EF4-FFF2-40B4-BE49-F238E27FC236}">
                <a16:creationId xmlns:a16="http://schemas.microsoft.com/office/drawing/2014/main" id="{39C70D32-2EA3-441D-A93F-DF718BFCDEBA}"/>
              </a:ext>
            </a:extLst>
          </p:cNvPr>
          <p:cNvSpPr/>
          <p:nvPr/>
        </p:nvSpPr>
        <p:spPr bwMode="auto">
          <a:xfrm>
            <a:off x="8874822" y="87474"/>
            <a:ext cx="162018" cy="162018"/>
          </a:xfrm>
          <a:prstGeom prst="noSmoking">
            <a:avLst/>
          </a:prstGeom>
          <a:solidFill>
            <a:schemeClr val="accent4"/>
          </a:solidFill>
          <a:ln w="9525">
            <a:noFill/>
            <a:miter lim="800000"/>
            <a:headEnd/>
            <a:tailEnd/>
          </a:ln>
        </p:spPr>
        <p:txBody>
          <a:bodyPr wrap="square" lIns="54000" tIns="54000" rIns="54000" bIns="54000" rtlCol="0" anchor="ctr"/>
          <a:lstStyle/>
          <a:p>
            <a:pPr algn="ctr" eaLnBrk="0" hangingPunct="0"/>
            <a:endParaRPr lang="en-US" sz="1200" baseline="0" noProof="0">
              <a:latin typeface="+mn-lt"/>
              <a:ea typeface="+mn-ea"/>
              <a:cs typeface="+mn-cs"/>
            </a:endParaRPr>
          </a:p>
        </p:txBody>
      </p:sp>
      <p:sp>
        <p:nvSpPr>
          <p:cNvPr id="16" name="MIO_AGENDA_IGNORE_CHAPTER_REFERENCE" hidden="1">
            <a:extLst>
              <a:ext uri="{FF2B5EF4-FFF2-40B4-BE49-F238E27FC236}">
                <a16:creationId xmlns:a16="http://schemas.microsoft.com/office/drawing/2014/main" id="{95A5B893-AEEA-4A9B-834F-0AED24896486}"/>
              </a:ext>
            </a:extLst>
          </p:cNvPr>
          <p:cNvSpPr/>
          <p:nvPr/>
        </p:nvSpPr>
        <p:spPr bwMode="auto">
          <a:xfrm>
            <a:off x="8874822" y="87474"/>
            <a:ext cx="162018" cy="162018"/>
          </a:xfrm>
          <a:prstGeom prst="noSmoking">
            <a:avLst/>
          </a:prstGeom>
          <a:solidFill>
            <a:schemeClr val="accent4"/>
          </a:solidFill>
          <a:ln w="9525">
            <a:noFill/>
            <a:miter lim="800000"/>
            <a:headEnd/>
            <a:tailEnd/>
          </a:ln>
        </p:spPr>
        <p:txBody>
          <a:bodyPr wrap="square" lIns="54000" tIns="54000" rIns="54000" bIns="54000" rtlCol="0" anchor="ctr"/>
          <a:lstStyle/>
          <a:p>
            <a:pPr algn="ctr" eaLnBrk="0" hangingPunct="0"/>
            <a:endParaRPr lang="en-US" sz="1200" baseline="0" noProof="0">
              <a:latin typeface="+mn-lt"/>
              <a:ea typeface="+mn-ea"/>
              <a:cs typeface="+mn-cs"/>
            </a:endParaRPr>
          </a:p>
        </p:txBody>
      </p:sp>
      <p:sp>
        <p:nvSpPr>
          <p:cNvPr id="2" name="Date Placeholder 1">
            <a:extLst>
              <a:ext uri="{FF2B5EF4-FFF2-40B4-BE49-F238E27FC236}">
                <a16:creationId xmlns:a16="http://schemas.microsoft.com/office/drawing/2014/main" id="{579D36A4-A38C-4A9D-95E1-B4D140908E0C}"/>
              </a:ext>
            </a:extLst>
          </p:cNvPr>
          <p:cNvSpPr>
            <a:spLocks noGrp="1"/>
          </p:cNvSpPr>
          <p:nvPr>
            <p:ph type="dt" sz="half" idx="36"/>
          </p:nvPr>
        </p:nvSpPr>
        <p:spPr/>
        <p:txBody>
          <a:bodyPr/>
          <a:lstStyle/>
          <a:p>
            <a:endParaRPr lang="en-US" b="1" dirty="0"/>
          </a:p>
        </p:txBody>
      </p:sp>
      <p:sp>
        <p:nvSpPr>
          <p:cNvPr id="18" name="Footer Placeholder 17">
            <a:extLst>
              <a:ext uri="{FF2B5EF4-FFF2-40B4-BE49-F238E27FC236}">
                <a16:creationId xmlns:a16="http://schemas.microsoft.com/office/drawing/2014/main" id="{E9C62616-E1F5-4B62-8560-97C66E1D1A89}"/>
              </a:ext>
            </a:extLst>
          </p:cNvPr>
          <p:cNvSpPr>
            <a:spLocks noGrp="1"/>
          </p:cNvSpPr>
          <p:nvPr>
            <p:ph type="ftr" sz="quarter" idx="37"/>
          </p:nvPr>
        </p:nvSpPr>
        <p:spPr/>
        <p:txBody>
          <a:bodyPr/>
          <a:lstStyle/>
          <a:p>
            <a:endParaRPr lang="en-US" dirty="0"/>
          </a:p>
        </p:txBody>
      </p:sp>
      <p:sp>
        <p:nvSpPr>
          <p:cNvPr id="19" name="Slide Number Placeholder 18" hidden="1">
            <a:extLst>
              <a:ext uri="{FF2B5EF4-FFF2-40B4-BE49-F238E27FC236}">
                <a16:creationId xmlns:a16="http://schemas.microsoft.com/office/drawing/2014/main" id="{91BD0683-2F82-4B08-96F8-5CAC7C42B277}"/>
              </a:ext>
            </a:extLst>
          </p:cNvPr>
          <p:cNvSpPr>
            <a:spLocks noGrp="1"/>
          </p:cNvSpPr>
          <p:nvPr>
            <p:ph type="sldNum" sz="quarter" idx="38"/>
          </p:nvPr>
        </p:nvSpPr>
        <p:spPr/>
        <p:txBody>
          <a:bodyPr/>
          <a:lstStyle/>
          <a:p>
            <a:r>
              <a:rPr lang="en-US"/>
              <a:t> </a:t>
            </a:r>
            <a:endParaRPr lang="en-US" dirty="0"/>
          </a:p>
        </p:txBody>
      </p:sp>
    </p:spTree>
    <p:extLst>
      <p:ext uri="{BB962C8B-B14F-4D97-AF65-F5344CB8AC3E}">
        <p14:creationId xmlns:p14="http://schemas.microsoft.com/office/powerpoint/2010/main" val="1655855138"/>
      </p:ext>
    </p:extLst>
  </p:cSld>
  <p:clrMapOvr>
    <a:masterClrMapping/>
  </p:clrMapOvr>
  <p:hf hdr="0"/>
  <p:extLst mod="1">
    <p:ext uri="{DCECCB84-F9BA-43D5-87BE-67443E8EF086}">
      <p15:sldGuideLst xmlns:p15="http://schemas.microsoft.com/office/powerpoint/2012/main">
        <p15:guide id="1" pos="582" userDrawn="1">
          <p15:clr>
            <a:srgbClr val="FBAE40"/>
          </p15:clr>
        </p15:guide>
        <p15:guide id="2" pos="5604" userDrawn="1">
          <p15:clr>
            <a:srgbClr val="FBAE40"/>
          </p15:clr>
        </p15:guide>
        <p15:guide id="3" pos="156" userDrawn="1">
          <p15:clr>
            <a:srgbClr val="FBAE40"/>
          </p15:clr>
        </p15:guide>
        <p15:guide id="4" orient="horz" pos="600" userDrawn="1">
          <p15:clr>
            <a:srgbClr val="FBAE40"/>
          </p15:clr>
        </p15:guide>
        <p15:guide id="5" orient="horz" pos="3018"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IFX_Title_and_Two_Content">
    <p:spTree>
      <p:nvGrpSpPr>
        <p:cNvPr id="1" name=""/>
        <p:cNvGrpSpPr/>
        <p:nvPr/>
      </p:nvGrpSpPr>
      <p:grpSpPr>
        <a:xfrm>
          <a:off x="0" y="0"/>
          <a:ext cx="0" cy="0"/>
          <a:chOff x="0" y="0"/>
          <a:chExt cx="0" cy="0"/>
        </a:xfrm>
      </p:grpSpPr>
      <p:sp>
        <p:nvSpPr>
          <p:cNvPr id="10" name="empower_additionalText_placeholder" hidden="1">
            <a:extLst>
              <a:ext uri="{FF2B5EF4-FFF2-40B4-BE49-F238E27FC236}">
                <a16:creationId xmlns:a16="http://schemas.microsoft.com/office/drawing/2014/main" id="{FD35C554-56A1-4651-98F3-FC19B8770A8A}"/>
              </a:ext>
            </a:extLst>
          </p:cNvPr>
          <p:cNvSpPr txBox="1"/>
          <p:nvPr>
            <p:custDataLst>
              <p:tags r:id="rId1"/>
            </p:custDataLst>
          </p:nvPr>
        </p:nvSpPr>
        <p:spPr bwMode="auto">
          <a:xfrm>
            <a:off x="1898847" y="4867275"/>
            <a:ext cx="1296000" cy="270825"/>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sz="600" noProof="0">
              <a:latin typeface="+mn-lt"/>
              <a:ea typeface="+mn-ea"/>
              <a:cs typeface="+mn-cs"/>
            </a:endParaRPr>
          </a:p>
        </p:txBody>
      </p:sp>
      <p:sp>
        <p:nvSpPr>
          <p:cNvPr id="12" name="empower_document_placeholder" hidden="1">
            <a:extLst>
              <a:ext uri="{FF2B5EF4-FFF2-40B4-BE49-F238E27FC236}">
                <a16:creationId xmlns:a16="http://schemas.microsoft.com/office/drawing/2014/main" id="{4FA374A8-328C-4586-BEF8-CF0921FBF7D3}"/>
              </a:ext>
            </a:extLst>
          </p:cNvPr>
          <p:cNvSpPr txBox="1"/>
          <p:nvPr>
            <p:custDataLst>
              <p:tags r:id="rId2"/>
            </p:custDataLst>
          </p:nvPr>
        </p:nvSpPr>
        <p:spPr bwMode="auto">
          <a:xfrm rot="16200000">
            <a:off x="8068416" y="3720253"/>
            <a:ext cx="1944000" cy="188119"/>
          </a:xfrm>
          <a:prstGeom prst="rect">
            <a:avLst/>
          </a:prstGeom>
          <a:noFill/>
          <a:ln w="9525">
            <a:noFill/>
            <a:miter lim="800000"/>
            <a:headEnd/>
            <a:tailEnd/>
          </a:ln>
          <a:effectLst/>
        </p:spPr>
        <p:txBody>
          <a:bodyPr wrap="none" lIns="0" tIns="0" rIns="0" bIns="0" rtlCol="0" anchor="ctr" anchorCtr="0">
            <a:noAutofit/>
          </a:bodyPr>
          <a:lstStyle/>
          <a:p>
            <a:pPr marL="0" marR="0" indent="0"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525" kern="0" noProof="0">
                <a:solidFill>
                  <a:srgbClr val="928285"/>
                </a:solidFill>
                <a:latin typeface="+mn-lt"/>
                <a:ea typeface="+mn-ea"/>
                <a:cs typeface="+mn-cs"/>
              </a:rPr>
              <a:t>[Owner:   Doc ID:   Vers.: ]</a:t>
            </a:r>
          </a:p>
        </p:txBody>
      </p:sp>
      <p:sp>
        <p:nvSpPr>
          <p:cNvPr id="14" name="empower_proprietary_placeholder" hidden="1">
            <a:extLst>
              <a:ext uri="{FF2B5EF4-FFF2-40B4-BE49-F238E27FC236}">
                <a16:creationId xmlns:a16="http://schemas.microsoft.com/office/drawing/2014/main" id="{AEB670C2-21D6-4210-BA37-DF3C9B9933BC}"/>
              </a:ext>
            </a:extLst>
          </p:cNvPr>
          <p:cNvSpPr txBox="1"/>
          <p:nvPr>
            <p:custDataLst>
              <p:tags r:id="rId3"/>
            </p:custDataLst>
          </p:nvPr>
        </p:nvSpPr>
        <p:spPr bwMode="auto">
          <a:xfrm>
            <a:off x="7083360" y="4867275"/>
            <a:ext cx="729000" cy="270825"/>
          </a:xfrm>
          <a:prstGeom prst="rect">
            <a:avLst/>
          </a:prstGeom>
          <a:noFill/>
          <a:ln w="9525">
            <a:noFill/>
            <a:miter lim="800000"/>
            <a:headEnd/>
            <a:tailEnd/>
          </a:ln>
          <a:effectLst/>
        </p:spPr>
        <p:txBody>
          <a:bodyPr wrap="none" lIns="0" tIns="0" rIns="0" bIns="0" rtlCol="0" anchor="ctr" anchorCtr="0">
            <a:noAutofit/>
          </a:bodyPr>
          <a:lstStyle/>
          <a:p>
            <a:pPr marL="0" marR="0" indent="0"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600" b="1" kern="0" noProof="0">
                <a:solidFill>
                  <a:srgbClr val="E30034"/>
                </a:solidFill>
                <a:latin typeface="+mn-lt"/>
                <a:ea typeface="+mn-ea"/>
                <a:cs typeface="+mn-cs"/>
              </a:rPr>
              <a:t>Infineon Proprietary</a:t>
            </a:r>
          </a:p>
        </p:txBody>
      </p:sp>
      <p:sp>
        <p:nvSpPr>
          <p:cNvPr id="16" name="empower_draft_placeholder" hidden="1">
            <a:extLst>
              <a:ext uri="{FF2B5EF4-FFF2-40B4-BE49-F238E27FC236}">
                <a16:creationId xmlns:a16="http://schemas.microsoft.com/office/drawing/2014/main" id="{21B71886-0324-4B36-AA82-C90CF46385B2}"/>
              </a:ext>
            </a:extLst>
          </p:cNvPr>
          <p:cNvSpPr txBox="1"/>
          <p:nvPr>
            <p:custDataLst>
              <p:tags r:id="rId4"/>
            </p:custDataLst>
          </p:nvPr>
        </p:nvSpPr>
        <p:spPr bwMode="auto">
          <a:xfrm>
            <a:off x="6570892" y="4867275"/>
            <a:ext cx="270272" cy="270825"/>
          </a:xfrm>
          <a:prstGeom prst="rect">
            <a:avLst/>
          </a:prstGeom>
          <a:noFill/>
          <a:ln w="9525">
            <a:noFill/>
            <a:miter lim="800000"/>
            <a:headEnd/>
            <a:tailEnd/>
          </a:ln>
          <a:effectLst/>
        </p:spPr>
        <p:txBody>
          <a:bodyPr wrap="none" lIns="0" tIns="0" rIns="0" bIns="0" rtlCol="0" anchor="ctr" anchorCtr="0">
            <a:noAutofit/>
          </a:bodyPr>
          <a:lstStyle/>
          <a:p>
            <a:pPr marL="0" marR="0" indent="0" algn="l"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600" b="1" kern="0" noProof="0">
                <a:solidFill>
                  <a:srgbClr val="E30034"/>
                </a:solidFill>
                <a:latin typeface="+mn-lt"/>
                <a:ea typeface="+mn-ea"/>
                <a:cs typeface="+mn-cs"/>
              </a:rPr>
              <a:t>- DRAFT -</a:t>
            </a:r>
          </a:p>
        </p:txBody>
      </p:sp>
      <p:sp>
        <p:nvSpPr>
          <p:cNvPr id="18" name="empower_footer_placeholder">
            <a:extLst>
              <a:ext uri="{FF2B5EF4-FFF2-40B4-BE49-F238E27FC236}">
                <a16:creationId xmlns:a16="http://schemas.microsoft.com/office/drawing/2014/main" id="{DC9834AE-8B30-477E-8C87-5F8E7D7B17A3}"/>
              </a:ext>
            </a:extLst>
          </p:cNvPr>
          <p:cNvSpPr txBox="1"/>
          <p:nvPr>
            <p:custDataLst>
              <p:tags r:id="rId5"/>
            </p:custDataLst>
          </p:nvPr>
        </p:nvSpPr>
        <p:spPr bwMode="auto">
          <a:xfrm>
            <a:off x="3410872" y="4867275"/>
            <a:ext cx="2322257" cy="270825"/>
          </a:xfrm>
          <a:prstGeom prst="rect">
            <a:avLst/>
          </a:prstGeom>
          <a:noFill/>
          <a:ln w="9525">
            <a:noFill/>
            <a:miter lim="800000"/>
            <a:headEnd/>
            <a:tailEnd/>
          </a:ln>
          <a:effectLst/>
        </p:spPr>
        <p:txBody>
          <a:bodyPr wrap="none" lIns="0" tIns="0" rIns="0" bIns="0" rtlCol="0" anchor="ctr" anchorCtr="0">
            <a:noAutofit/>
          </a:bodyPr>
          <a:lstStyle/>
          <a:p>
            <a:pPr marL="0" marR="0" indent="0" algn="ctr" defTabSz="685800" eaLnBrk="0" fontAlgn="auto" latinLnBrk="0" hangingPunct="0">
              <a:spcBef>
                <a:spcPts val="0"/>
              </a:spcBef>
              <a:spcAft>
                <a:spcPts val="225"/>
              </a:spcAft>
              <a:buClr>
                <a:schemeClr val="accent1"/>
              </a:buClr>
              <a:buSzTx/>
              <a:buFont typeface="Arial" panose="020B0604020202020204" pitchFamily="34" charset="0"/>
              <a:buNone/>
              <a:tabLst/>
            </a:pPr>
            <a:r>
              <a:rPr lang="en-GB" sz="600" kern="0" noProof="0">
                <a:solidFill>
                  <a:srgbClr val="928285"/>
                </a:solidFill>
                <a:latin typeface="+mn-lt"/>
                <a:ea typeface="+mn-ea"/>
                <a:cs typeface="+mn-cs"/>
              </a:rPr>
              <a:t>Copyright © Infineon Technologies AG 2022. All rights reserved.</a:t>
            </a:r>
            <a:endParaRPr lang="en-US" sz="600" kern="0" noProof="0">
              <a:solidFill>
                <a:srgbClr val="928285"/>
              </a:solidFill>
              <a:latin typeface="+mn-lt"/>
              <a:ea typeface="+mn-ea"/>
              <a:cs typeface="+mn-cs"/>
            </a:endParaRPr>
          </a:p>
        </p:txBody>
      </p:sp>
      <p:sp>
        <p:nvSpPr>
          <p:cNvPr id="20" name="empower_classification_attention_placeholder" hidden="1">
            <a:extLst>
              <a:ext uri="{FF2B5EF4-FFF2-40B4-BE49-F238E27FC236}">
                <a16:creationId xmlns:a16="http://schemas.microsoft.com/office/drawing/2014/main" id="{B5FD8F85-4CB3-489A-86B2-4ABCB308F30D}"/>
              </a:ext>
            </a:extLst>
          </p:cNvPr>
          <p:cNvSpPr txBox="1"/>
          <p:nvPr>
            <p:custDataLst>
              <p:tags r:id="rId6"/>
            </p:custDataLst>
          </p:nvPr>
        </p:nvSpPr>
        <p:spPr bwMode="auto">
          <a:xfrm>
            <a:off x="928642" y="4867275"/>
            <a:ext cx="728891" cy="270825"/>
          </a:xfrm>
          <a:prstGeom prst="rect">
            <a:avLst/>
          </a:prstGeom>
          <a:noFill/>
          <a:ln w="9525">
            <a:noFill/>
            <a:miter lim="800000"/>
            <a:headEnd/>
            <a:tailEnd/>
          </a:ln>
          <a:effectLst/>
        </p:spPr>
        <p:txBody>
          <a:bodyPr wrap="none" lIns="0" tIns="0" rIns="0" bIns="0" rtlCol="0" anchor="ctr" anchorCtr="0">
            <a:noAutofit/>
          </a:bodyPr>
          <a:lstStyle/>
          <a:p>
            <a:pPr marL="0" marR="0" indent="0" algn="l"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600" b="1" kern="0" noProof="0">
                <a:solidFill>
                  <a:srgbClr val="E30034"/>
                </a:solidFill>
                <a:latin typeface="+mn-lt"/>
                <a:ea typeface="+mn-ea"/>
                <a:cs typeface="+mn-cs"/>
              </a:rPr>
              <a:t>Restricted</a:t>
            </a:r>
          </a:p>
        </p:txBody>
      </p:sp>
      <p:sp>
        <p:nvSpPr>
          <p:cNvPr id="22" name="empower_classification_placeholder">
            <a:extLst>
              <a:ext uri="{FF2B5EF4-FFF2-40B4-BE49-F238E27FC236}">
                <a16:creationId xmlns:a16="http://schemas.microsoft.com/office/drawing/2014/main" id="{A254D557-505E-4B08-8C5B-DEA083728C5A}"/>
              </a:ext>
            </a:extLst>
          </p:cNvPr>
          <p:cNvSpPr txBox="1"/>
          <p:nvPr>
            <p:custDataLst>
              <p:tags r:id="rId7"/>
            </p:custDataLst>
          </p:nvPr>
        </p:nvSpPr>
        <p:spPr bwMode="auto">
          <a:xfrm>
            <a:off x="928642" y="4867275"/>
            <a:ext cx="729938" cy="270825"/>
          </a:xfrm>
          <a:prstGeom prst="rect">
            <a:avLst/>
          </a:prstGeom>
          <a:noFill/>
          <a:ln w="9525">
            <a:noFill/>
            <a:miter lim="800000"/>
            <a:headEnd/>
            <a:tailEnd/>
          </a:ln>
          <a:effectLst/>
        </p:spPr>
        <p:txBody>
          <a:bodyPr wrap="none" lIns="0" tIns="0" rIns="0" bIns="0" rtlCol="0" anchor="ctr" anchorCtr="0">
            <a:noAutofit/>
          </a:bodyPr>
          <a:lstStyle/>
          <a:p>
            <a:pPr marL="0" marR="0" indent="0" algn="l"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600" b="1" kern="0" noProof="0">
                <a:solidFill>
                  <a:srgbClr val="928285"/>
                </a:solidFill>
                <a:latin typeface="+mn-lt"/>
                <a:ea typeface="+mn-ea"/>
                <a:cs typeface="+mn-cs"/>
              </a:rPr>
              <a:t>restricted</a:t>
            </a:r>
          </a:p>
        </p:txBody>
      </p:sp>
      <p:sp>
        <p:nvSpPr>
          <p:cNvPr id="24" name="empower_date_placeholder">
            <a:extLst>
              <a:ext uri="{FF2B5EF4-FFF2-40B4-BE49-F238E27FC236}">
                <a16:creationId xmlns:a16="http://schemas.microsoft.com/office/drawing/2014/main" id="{6E3D16E2-B858-4F89-B7A0-119FBFC70810}"/>
              </a:ext>
            </a:extLst>
          </p:cNvPr>
          <p:cNvSpPr txBox="1"/>
          <p:nvPr>
            <p:custDataLst>
              <p:tags r:id="rId8"/>
            </p:custDataLst>
          </p:nvPr>
        </p:nvSpPr>
        <p:spPr bwMode="auto">
          <a:xfrm>
            <a:off x="251222" y="4867275"/>
            <a:ext cx="459000" cy="270825"/>
          </a:xfrm>
          <a:prstGeom prst="rect">
            <a:avLst/>
          </a:prstGeom>
          <a:noFill/>
          <a:ln w="9525">
            <a:noFill/>
            <a:miter lim="800000"/>
            <a:headEnd/>
            <a:tailEnd/>
          </a:ln>
          <a:effectLst/>
        </p:spPr>
        <p:txBody>
          <a:bodyPr wrap="none" lIns="0" tIns="0" rIns="0" bIns="0" rtlCol="0" anchor="ctr" anchorCtr="0">
            <a:noAutofit/>
          </a:bodyPr>
          <a:lstStyle/>
          <a:p>
            <a:pPr marL="0" marR="0" indent="0" defTabSz="685800" eaLnBrk="0" fontAlgn="auto" latinLnBrk="0" hangingPunct="0">
              <a:spcBef>
                <a:spcPts val="0"/>
              </a:spcBef>
              <a:spcAft>
                <a:spcPts val="225"/>
              </a:spcAft>
              <a:buClr>
                <a:schemeClr val="accent1"/>
              </a:buClr>
              <a:buSzTx/>
              <a:buFont typeface="Arial" panose="020B0604020202020204" pitchFamily="34" charset="0"/>
              <a:buNone/>
              <a:tabLst/>
            </a:pPr>
            <a:r>
              <a:rPr lang="en-US" sz="600" kern="0" noProof="0">
                <a:solidFill>
                  <a:srgbClr val="928285"/>
                </a:solidFill>
                <a:latin typeface="+mn-lt"/>
                <a:ea typeface="+mn-ea"/>
                <a:cs typeface="+mn-cs"/>
              </a:rPr>
              <a:t>2022-07-16</a:t>
            </a:r>
          </a:p>
        </p:txBody>
      </p:sp>
      <p:sp>
        <p:nvSpPr>
          <p:cNvPr id="7" name="Content Left"/>
          <p:cNvSpPr>
            <a:spLocks noGrp="1"/>
          </p:cNvSpPr>
          <p:nvPr>
            <p:ph sz="quarter" idx="13" hasCustomPrompt="1"/>
          </p:nvPr>
        </p:nvSpPr>
        <p:spPr>
          <a:xfrm>
            <a:off x="251100" y="951311"/>
            <a:ext cx="4266000" cy="3835003"/>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Right"/>
          <p:cNvSpPr>
            <a:spLocks noGrp="1"/>
          </p:cNvSpPr>
          <p:nvPr>
            <p:ph sz="quarter" idx="14" hasCustomPrompt="1"/>
          </p:nvPr>
        </p:nvSpPr>
        <p:spPr>
          <a:xfrm>
            <a:off x="4625579" y="951311"/>
            <a:ext cx="4266902" cy="3835003"/>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itle">
            <a:extLst>
              <a:ext uri="{FF2B5EF4-FFF2-40B4-BE49-F238E27FC236}">
                <a16:creationId xmlns:a16="http://schemas.microsoft.com/office/drawing/2014/main" id="{373E7DFD-EB78-498B-97A4-CE06BA4BEC4D}"/>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D623209F-EEBF-4451-AF99-363F6EA35F67}"/>
              </a:ext>
            </a:extLst>
          </p:cNvPr>
          <p:cNvSpPr/>
          <p:nvPr>
            <p:custDataLst>
              <p:tags r:id="rId9"/>
            </p:custDataLst>
          </p:nvPr>
        </p:nvSpPr>
        <p:spPr bwMode="auto">
          <a:xfrm>
            <a:off x="7598463" y="1"/>
            <a:ext cx="1545538" cy="627534"/>
          </a:xfrm>
          <a:prstGeom prst="rect">
            <a:avLst/>
          </a:prstGeom>
          <a:solidFill>
            <a:schemeClr val="accent3">
              <a:alpha val="50000"/>
            </a:schemeClr>
          </a:solidFill>
          <a:ln w="9525">
            <a:noFill/>
            <a:miter lim="800000"/>
            <a:headEnd/>
            <a:tailEnd/>
          </a:ln>
        </p:spPr>
        <p:txBody>
          <a:bodyPr wrap="square" lIns="54000" tIns="54000" rIns="54000" bIns="54000" rtlCol="0" anchor="ctr"/>
          <a:lstStyle/>
          <a:p>
            <a:pPr algn="ctr" eaLnBrk="0" hangingPunct="0"/>
            <a:endParaRPr lang="en-US" sz="1200" noProof="0">
              <a:latin typeface="+mn-lt"/>
              <a:ea typeface="+mn-ea"/>
              <a:cs typeface="+mn-cs"/>
            </a:endParaRPr>
          </a:p>
        </p:txBody>
      </p:sp>
      <p:sp>
        <p:nvSpPr>
          <p:cNvPr id="2" name="Date Placeholder 1">
            <a:extLst>
              <a:ext uri="{FF2B5EF4-FFF2-40B4-BE49-F238E27FC236}">
                <a16:creationId xmlns:a16="http://schemas.microsoft.com/office/drawing/2014/main" id="{9850AB63-C5F5-4BA2-A73E-BB668324B70F}"/>
              </a:ext>
            </a:extLst>
          </p:cNvPr>
          <p:cNvSpPr>
            <a:spLocks noGrp="1"/>
          </p:cNvSpPr>
          <p:nvPr>
            <p:ph type="dt" sz="half" idx="15"/>
          </p:nvPr>
        </p:nvSpPr>
        <p:spPr/>
        <p:txBody>
          <a:bodyPr/>
          <a:lstStyle/>
          <a:p>
            <a:endParaRPr lang="en-US" b="1" dirty="0"/>
          </a:p>
        </p:txBody>
      </p:sp>
      <p:sp>
        <p:nvSpPr>
          <p:cNvPr id="11" name="Footer Placeholder 10">
            <a:extLst>
              <a:ext uri="{FF2B5EF4-FFF2-40B4-BE49-F238E27FC236}">
                <a16:creationId xmlns:a16="http://schemas.microsoft.com/office/drawing/2014/main" id="{ED18627F-EDFA-45CA-A572-C60F0E37473A}"/>
              </a:ext>
            </a:extLst>
          </p:cNvPr>
          <p:cNvSpPr>
            <a:spLocks noGrp="1"/>
          </p:cNvSpPr>
          <p:nvPr>
            <p:ph type="ftr" sz="quarter" idx="16"/>
          </p:nvPr>
        </p:nvSpPr>
        <p:spPr/>
        <p:txBody>
          <a:bodyPr/>
          <a:lstStyle/>
          <a:p>
            <a:endParaRPr lang="en-US" dirty="0"/>
          </a:p>
        </p:txBody>
      </p:sp>
      <p:sp>
        <p:nvSpPr>
          <p:cNvPr id="13" name="Slide Number Placeholder 12" hidden="1">
            <a:extLst>
              <a:ext uri="{FF2B5EF4-FFF2-40B4-BE49-F238E27FC236}">
                <a16:creationId xmlns:a16="http://schemas.microsoft.com/office/drawing/2014/main" id="{E2FA0071-6D08-45B0-AF4E-22BFCF09E76B}"/>
              </a:ext>
            </a:extLst>
          </p:cNvPr>
          <p:cNvSpPr>
            <a:spLocks noGrp="1"/>
          </p:cNvSpPr>
          <p:nvPr>
            <p:ph type="sldNum" sz="quarter" idx="17"/>
          </p:nvPr>
        </p:nvSpPr>
        <p:spPr/>
        <p:txBody>
          <a:bodyPr/>
          <a:lstStyle/>
          <a:p>
            <a:r>
              <a:rPr lang="en-US"/>
              <a:t> </a:t>
            </a:r>
            <a:endParaRPr lang="en-US" dirty="0"/>
          </a:p>
        </p:txBody>
      </p:sp>
    </p:spTree>
    <p:extLst>
      <p:ext uri="{BB962C8B-B14F-4D97-AF65-F5344CB8AC3E}">
        <p14:creationId xmlns:p14="http://schemas.microsoft.com/office/powerpoint/2010/main" val="2572468918"/>
      </p:ext>
    </p:extLst>
  </p:cSld>
  <p:clrMapOvr>
    <a:masterClrMapping/>
  </p:clrMapOvr>
  <p:hf hdr="0"/>
  <p:extLst mod="1">
    <p:ext uri="{DCECCB84-F9BA-43D5-87BE-67443E8EF086}">
      <p15:sldGuideLst xmlns:p15="http://schemas.microsoft.com/office/powerpoint/2012/main">
        <p15:guide id="1" pos="2916" userDrawn="1">
          <p15:clr>
            <a:srgbClr val="FBAE40"/>
          </p15:clr>
        </p15:guide>
        <p15:guide id="2" pos="5604" userDrawn="1">
          <p15:clr>
            <a:srgbClr val="FBAE40"/>
          </p15:clr>
        </p15:guide>
        <p15:guide id="3" pos="2844" userDrawn="1">
          <p15:clr>
            <a:srgbClr val="FBAE40"/>
          </p15:clr>
        </p15:guide>
        <p15:guide id="4" pos="156" userDrawn="1">
          <p15:clr>
            <a:srgbClr val="FBAE40"/>
          </p15:clr>
        </p15:guide>
        <p15:guide id="5" orient="horz" pos="600" userDrawn="1">
          <p15:clr>
            <a:srgbClr val="FBAE40"/>
          </p15:clr>
        </p15:guide>
        <p15:guide id="6" orient="horz" pos="301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IFX_Section">
    <p:spTree>
      <p:nvGrpSpPr>
        <p:cNvPr id="1" name=""/>
        <p:cNvGrpSpPr/>
        <p:nvPr/>
      </p:nvGrpSpPr>
      <p:grpSpPr>
        <a:xfrm>
          <a:off x="0" y="0"/>
          <a:ext cx="0" cy="0"/>
          <a:chOff x="0" y="0"/>
          <a:chExt cx="0" cy="0"/>
        </a:xfrm>
      </p:grpSpPr>
      <p:sp>
        <p:nvSpPr>
          <p:cNvPr id="6" name="Background White"/>
          <p:cNvSpPr/>
          <p:nvPr/>
        </p:nvSpPr>
        <p:spPr bwMode="auto">
          <a:xfrm>
            <a:off x="0" y="607500"/>
            <a:ext cx="9143999" cy="4536000"/>
          </a:xfrm>
          <a:prstGeom prst="rect">
            <a:avLst/>
          </a:prstGeom>
          <a:solidFill>
            <a:schemeClr val="bg1"/>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grpSp>
        <p:nvGrpSpPr>
          <p:cNvPr id="10" name="Lines"/>
          <p:cNvGrpSpPr/>
          <p:nvPr/>
        </p:nvGrpSpPr>
        <p:grpSpPr>
          <a:xfrm>
            <a:off x="-26986" y="0"/>
            <a:ext cx="9170987" cy="4299942"/>
            <a:chOff x="-26987" y="0"/>
            <a:chExt cx="9170987" cy="5733256"/>
          </a:xfrm>
          <a:solidFill>
            <a:schemeClr val="accent3"/>
          </a:solidFill>
        </p:grpSpPr>
        <p:cxnSp>
          <p:nvCxnSpPr>
            <p:cNvPr id="11" name="Gerade Verbindung 5"/>
            <p:cNvCxnSpPr/>
            <p:nvPr/>
          </p:nvCxnSpPr>
          <p:spPr>
            <a:xfrm flipH="1">
              <a:off x="3587742" y="2708920"/>
              <a:ext cx="5556256" cy="2127991"/>
            </a:xfrm>
            <a:prstGeom prst="line">
              <a:avLst/>
            </a:prstGeom>
            <a:grpFill/>
            <a:ln w="12700">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12" name="Gerade Verbindung 10"/>
            <p:cNvCxnSpPr/>
            <p:nvPr/>
          </p:nvCxnSpPr>
          <p:spPr>
            <a:xfrm flipH="1" flipV="1">
              <a:off x="3587741" y="4836910"/>
              <a:ext cx="264179" cy="896346"/>
            </a:xfrm>
            <a:prstGeom prst="line">
              <a:avLst/>
            </a:prstGeom>
            <a:grpFill/>
            <a:ln w="12700">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13" name="Gerade Verbindung 13"/>
            <p:cNvCxnSpPr/>
            <p:nvPr/>
          </p:nvCxnSpPr>
          <p:spPr>
            <a:xfrm flipH="1" flipV="1">
              <a:off x="-26987" y="3429646"/>
              <a:ext cx="3614729" cy="1407264"/>
            </a:xfrm>
            <a:prstGeom prst="line">
              <a:avLst/>
            </a:prstGeom>
            <a:grpFill/>
            <a:ln w="12700">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14" name="Gerade Verbindung 16"/>
            <p:cNvCxnSpPr/>
            <p:nvPr/>
          </p:nvCxnSpPr>
          <p:spPr>
            <a:xfrm flipH="1" flipV="1">
              <a:off x="5652120" y="0"/>
              <a:ext cx="3491880" cy="4149081"/>
            </a:xfrm>
            <a:prstGeom prst="line">
              <a:avLst/>
            </a:prstGeom>
            <a:grpFill/>
            <a:ln w="12700">
              <a:solidFill>
                <a:schemeClr val="accent3"/>
              </a:solidFill>
              <a:tailEnd type="none"/>
            </a:ln>
          </p:spPr>
          <p:style>
            <a:lnRef idx="1">
              <a:schemeClr val="accent1"/>
            </a:lnRef>
            <a:fillRef idx="0">
              <a:schemeClr val="accent1"/>
            </a:fillRef>
            <a:effectRef idx="0">
              <a:schemeClr val="accent1"/>
            </a:effectRef>
            <a:fontRef idx="minor">
              <a:schemeClr val="tx1"/>
            </a:fontRef>
          </p:style>
        </p:cxnSp>
        <p:sp>
          <p:nvSpPr>
            <p:cNvPr id="16" name="Ellipse 6"/>
            <p:cNvSpPr/>
            <p:nvPr/>
          </p:nvSpPr>
          <p:spPr bwMode="auto">
            <a:xfrm>
              <a:off x="3535623" y="4765225"/>
              <a:ext cx="108000" cy="144000"/>
            </a:xfrm>
            <a:prstGeom prst="ellipse">
              <a:avLst/>
            </a:prstGeom>
            <a:solidFill>
              <a:schemeClr val="accent3"/>
            </a:solidFill>
            <a:ln w="9525">
              <a:solidFill>
                <a:schemeClr val="accent3"/>
              </a:solid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grpSp>
      <p:sp>
        <p:nvSpPr>
          <p:cNvPr id="17" name="Background Shape">
            <a:extLst>
              <a:ext uri="{FF2B5EF4-FFF2-40B4-BE49-F238E27FC236}">
                <a16:creationId xmlns:a16="http://schemas.microsoft.com/office/drawing/2014/main" id="{53E8A2FC-E199-464B-B567-84BD0308D940}"/>
              </a:ext>
            </a:extLst>
          </p:cNvPr>
          <p:cNvSpPr/>
          <p:nvPr/>
        </p:nvSpPr>
        <p:spPr bwMode="auto">
          <a:xfrm>
            <a:off x="0" y="3725085"/>
            <a:ext cx="9148027" cy="1418415"/>
          </a:xfrm>
          <a:custGeom>
            <a:avLst/>
            <a:gdLst>
              <a:gd name="connsiteX0" fmla="*/ 9113004 w 9113004"/>
              <a:gd name="connsiteY0" fmla="*/ 92990 h 1906291"/>
              <a:gd name="connsiteX1" fmla="*/ 9113004 w 9113004"/>
              <a:gd name="connsiteY1" fmla="*/ 1906291 h 1906291"/>
              <a:gd name="connsiteX2" fmla="*/ 0 w 9113004"/>
              <a:gd name="connsiteY2" fmla="*/ 1906291 h 1906291"/>
              <a:gd name="connsiteX3" fmla="*/ 0 w 9113004"/>
              <a:gd name="connsiteY3" fmla="*/ 674176 h 1906291"/>
              <a:gd name="connsiteX4" fmla="*/ 7849892 w 9113004"/>
              <a:gd name="connsiteY4" fmla="*/ 0 h 1906291"/>
              <a:gd name="connsiteX5" fmla="*/ 9113004 w 9113004"/>
              <a:gd name="connsiteY5" fmla="*/ 92990 h 1906291"/>
              <a:gd name="connsiteX0" fmla="*/ 9120917 w 9120917"/>
              <a:gd name="connsiteY0" fmla="*/ 92990 h 1906291"/>
              <a:gd name="connsiteX1" fmla="*/ 9120917 w 9120917"/>
              <a:gd name="connsiteY1" fmla="*/ 1906291 h 1906291"/>
              <a:gd name="connsiteX2" fmla="*/ 7913 w 9120917"/>
              <a:gd name="connsiteY2" fmla="*/ 1906291 h 1906291"/>
              <a:gd name="connsiteX3" fmla="*/ 0 w 9120917"/>
              <a:gd name="connsiteY3" fmla="*/ 525435 h 1906291"/>
              <a:gd name="connsiteX4" fmla="*/ 7857805 w 9120917"/>
              <a:gd name="connsiteY4" fmla="*/ 0 h 1906291"/>
              <a:gd name="connsiteX5" fmla="*/ 9120917 w 9120917"/>
              <a:gd name="connsiteY5" fmla="*/ 92990 h 1906291"/>
              <a:gd name="connsiteX0" fmla="*/ 9120917 w 9120917"/>
              <a:gd name="connsiteY0" fmla="*/ 0 h 1813301"/>
              <a:gd name="connsiteX1" fmla="*/ 9120917 w 9120917"/>
              <a:gd name="connsiteY1" fmla="*/ 1813301 h 1813301"/>
              <a:gd name="connsiteX2" fmla="*/ 7913 w 9120917"/>
              <a:gd name="connsiteY2" fmla="*/ 1813301 h 1813301"/>
              <a:gd name="connsiteX3" fmla="*/ 0 w 9120917"/>
              <a:gd name="connsiteY3" fmla="*/ 432445 h 1813301"/>
              <a:gd name="connsiteX4" fmla="*/ 7841980 w 9120917"/>
              <a:gd name="connsiteY4" fmla="*/ 683774 h 1813301"/>
              <a:gd name="connsiteX5" fmla="*/ 9120917 w 9120917"/>
              <a:gd name="connsiteY5" fmla="*/ 0 h 1813301"/>
              <a:gd name="connsiteX0" fmla="*/ 9120917 w 9120917"/>
              <a:gd name="connsiteY0" fmla="*/ 0 h 1813301"/>
              <a:gd name="connsiteX1" fmla="*/ 9120917 w 9120917"/>
              <a:gd name="connsiteY1" fmla="*/ 1813301 h 1813301"/>
              <a:gd name="connsiteX2" fmla="*/ 7913 w 9120917"/>
              <a:gd name="connsiteY2" fmla="*/ 1813301 h 1813301"/>
              <a:gd name="connsiteX3" fmla="*/ 0 w 9120917"/>
              <a:gd name="connsiteY3" fmla="*/ 432445 h 1813301"/>
              <a:gd name="connsiteX4" fmla="*/ 9120917 w 9120917"/>
              <a:gd name="connsiteY4" fmla="*/ 0 h 1813301"/>
              <a:gd name="connsiteX0" fmla="*/ 9165530 w 9165530"/>
              <a:gd name="connsiteY0" fmla="*/ 0 h 1968240"/>
              <a:gd name="connsiteX1" fmla="*/ 9120917 w 9165530"/>
              <a:gd name="connsiteY1" fmla="*/ 1968240 h 1968240"/>
              <a:gd name="connsiteX2" fmla="*/ 7913 w 9165530"/>
              <a:gd name="connsiteY2" fmla="*/ 1968240 h 1968240"/>
              <a:gd name="connsiteX3" fmla="*/ 0 w 9165530"/>
              <a:gd name="connsiteY3" fmla="*/ 587384 h 1968240"/>
              <a:gd name="connsiteX4" fmla="*/ 9165530 w 9165530"/>
              <a:gd name="connsiteY4" fmla="*/ 0 h 1968240"/>
              <a:gd name="connsiteX0" fmla="*/ 9128352 w 9128352"/>
              <a:gd name="connsiteY0" fmla="*/ 0 h 1916593"/>
              <a:gd name="connsiteX1" fmla="*/ 9120917 w 9128352"/>
              <a:gd name="connsiteY1" fmla="*/ 1916593 h 1916593"/>
              <a:gd name="connsiteX2" fmla="*/ 7913 w 9128352"/>
              <a:gd name="connsiteY2" fmla="*/ 1916593 h 1916593"/>
              <a:gd name="connsiteX3" fmla="*/ 0 w 9128352"/>
              <a:gd name="connsiteY3" fmla="*/ 535737 h 1916593"/>
              <a:gd name="connsiteX4" fmla="*/ 9128352 w 9128352"/>
              <a:gd name="connsiteY4" fmla="*/ 0 h 1916593"/>
              <a:gd name="connsiteX0" fmla="*/ 9120917 w 9121632"/>
              <a:gd name="connsiteY0" fmla="*/ 0 h 1937251"/>
              <a:gd name="connsiteX1" fmla="*/ 9120917 w 9121632"/>
              <a:gd name="connsiteY1" fmla="*/ 1937251 h 1937251"/>
              <a:gd name="connsiteX2" fmla="*/ 7913 w 9121632"/>
              <a:gd name="connsiteY2" fmla="*/ 1937251 h 1937251"/>
              <a:gd name="connsiteX3" fmla="*/ 0 w 9121632"/>
              <a:gd name="connsiteY3" fmla="*/ 556395 h 1937251"/>
              <a:gd name="connsiteX4" fmla="*/ 9120917 w 9121632"/>
              <a:gd name="connsiteY4" fmla="*/ 0 h 1937251"/>
              <a:gd name="connsiteX0" fmla="*/ 9120917 w 9121632"/>
              <a:gd name="connsiteY0" fmla="*/ 0 h 1947580"/>
              <a:gd name="connsiteX1" fmla="*/ 9120917 w 9121632"/>
              <a:gd name="connsiteY1" fmla="*/ 1947580 h 1947580"/>
              <a:gd name="connsiteX2" fmla="*/ 7913 w 9121632"/>
              <a:gd name="connsiteY2" fmla="*/ 1947580 h 1947580"/>
              <a:gd name="connsiteX3" fmla="*/ 0 w 9121632"/>
              <a:gd name="connsiteY3" fmla="*/ 566724 h 1947580"/>
              <a:gd name="connsiteX4" fmla="*/ 9120917 w 9121632"/>
              <a:gd name="connsiteY4" fmla="*/ 0 h 1947580"/>
              <a:gd name="connsiteX0" fmla="*/ 9120917 w 9121632"/>
              <a:gd name="connsiteY0" fmla="*/ 0 h 1947580"/>
              <a:gd name="connsiteX1" fmla="*/ 9120917 w 9121632"/>
              <a:gd name="connsiteY1" fmla="*/ 1947580 h 1947580"/>
              <a:gd name="connsiteX2" fmla="*/ 7913 w 9121632"/>
              <a:gd name="connsiteY2" fmla="*/ 1947580 h 1947580"/>
              <a:gd name="connsiteX3" fmla="*/ 0 w 9121632"/>
              <a:gd name="connsiteY3" fmla="*/ 566724 h 1947580"/>
              <a:gd name="connsiteX4" fmla="*/ 9120917 w 9121632"/>
              <a:gd name="connsiteY4" fmla="*/ 0 h 1947580"/>
              <a:gd name="connsiteX0" fmla="*/ 9122756 w 9122756"/>
              <a:gd name="connsiteY0" fmla="*/ 0 h 1965461"/>
              <a:gd name="connsiteX1" fmla="*/ 9120917 w 9122756"/>
              <a:gd name="connsiteY1" fmla="*/ 1965461 h 1965461"/>
              <a:gd name="connsiteX2" fmla="*/ 7913 w 9122756"/>
              <a:gd name="connsiteY2" fmla="*/ 1965461 h 1965461"/>
              <a:gd name="connsiteX3" fmla="*/ 0 w 9122756"/>
              <a:gd name="connsiteY3" fmla="*/ 584605 h 1965461"/>
              <a:gd name="connsiteX4" fmla="*/ 9122756 w 9122756"/>
              <a:gd name="connsiteY4" fmla="*/ 0 h 1965461"/>
              <a:gd name="connsiteX0" fmla="*/ 9120917 w 9120917"/>
              <a:gd name="connsiteY0" fmla="*/ 0 h 1965461"/>
              <a:gd name="connsiteX1" fmla="*/ 9119078 w 9120917"/>
              <a:gd name="connsiteY1" fmla="*/ 1965461 h 1965461"/>
              <a:gd name="connsiteX2" fmla="*/ 6074 w 9120917"/>
              <a:gd name="connsiteY2" fmla="*/ 1965461 h 1965461"/>
              <a:gd name="connsiteX3" fmla="*/ 0 w 9120917"/>
              <a:gd name="connsiteY3" fmla="*/ 579496 h 1965461"/>
              <a:gd name="connsiteX4" fmla="*/ 9120917 w 9120917"/>
              <a:gd name="connsiteY4" fmla="*/ 0 h 1965461"/>
              <a:gd name="connsiteX0" fmla="*/ 9121190 w 9121190"/>
              <a:gd name="connsiteY0" fmla="*/ 0 h 1965461"/>
              <a:gd name="connsiteX1" fmla="*/ 9119351 w 9121190"/>
              <a:gd name="connsiteY1" fmla="*/ 1965461 h 1965461"/>
              <a:gd name="connsiteX2" fmla="*/ 832 w 9121190"/>
              <a:gd name="connsiteY2" fmla="*/ 1965461 h 1965461"/>
              <a:gd name="connsiteX3" fmla="*/ 273 w 9121190"/>
              <a:gd name="connsiteY3" fmla="*/ 579496 h 1965461"/>
              <a:gd name="connsiteX4" fmla="*/ 9121190 w 9121190"/>
              <a:gd name="connsiteY4" fmla="*/ 0 h 1965461"/>
              <a:gd name="connsiteX0" fmla="*/ 9120917 w 9120917"/>
              <a:gd name="connsiteY0" fmla="*/ 0 h 1965461"/>
              <a:gd name="connsiteX1" fmla="*/ 9119078 w 9120917"/>
              <a:gd name="connsiteY1" fmla="*/ 1965461 h 1965461"/>
              <a:gd name="connsiteX2" fmla="*/ 4235 w 9120917"/>
              <a:gd name="connsiteY2" fmla="*/ 1965461 h 1965461"/>
              <a:gd name="connsiteX3" fmla="*/ 0 w 9120917"/>
              <a:gd name="connsiteY3" fmla="*/ 579496 h 1965461"/>
              <a:gd name="connsiteX4" fmla="*/ 9120917 w 9120917"/>
              <a:gd name="connsiteY4" fmla="*/ 0 h 1965461"/>
              <a:gd name="connsiteX0" fmla="*/ 9120917 w 9120917"/>
              <a:gd name="connsiteY0" fmla="*/ 0 h 1965461"/>
              <a:gd name="connsiteX1" fmla="*/ 9119078 w 9120917"/>
              <a:gd name="connsiteY1" fmla="*/ 1965461 h 1965461"/>
              <a:gd name="connsiteX2" fmla="*/ 2397 w 9120917"/>
              <a:gd name="connsiteY2" fmla="*/ 1962907 h 1965461"/>
              <a:gd name="connsiteX3" fmla="*/ 0 w 9120917"/>
              <a:gd name="connsiteY3" fmla="*/ 579496 h 1965461"/>
              <a:gd name="connsiteX4" fmla="*/ 9120917 w 9120917"/>
              <a:gd name="connsiteY4" fmla="*/ 0 h 1965461"/>
              <a:gd name="connsiteX0" fmla="*/ 9121190 w 9121190"/>
              <a:gd name="connsiteY0" fmla="*/ 0 h 1965462"/>
              <a:gd name="connsiteX1" fmla="*/ 9119351 w 9121190"/>
              <a:gd name="connsiteY1" fmla="*/ 1965461 h 1965462"/>
              <a:gd name="connsiteX2" fmla="*/ 832 w 9121190"/>
              <a:gd name="connsiteY2" fmla="*/ 1965462 h 1965462"/>
              <a:gd name="connsiteX3" fmla="*/ 273 w 9121190"/>
              <a:gd name="connsiteY3" fmla="*/ 579496 h 1965462"/>
              <a:gd name="connsiteX4" fmla="*/ 9121190 w 9121190"/>
              <a:gd name="connsiteY4" fmla="*/ 0 h 1965462"/>
              <a:gd name="connsiteX0" fmla="*/ 9120917 w 9120917"/>
              <a:gd name="connsiteY0" fmla="*/ 0 h 1965462"/>
              <a:gd name="connsiteX1" fmla="*/ 9119078 w 9120917"/>
              <a:gd name="connsiteY1" fmla="*/ 1965461 h 1965462"/>
              <a:gd name="connsiteX2" fmla="*/ 2397 w 9120917"/>
              <a:gd name="connsiteY2" fmla="*/ 1965462 h 1965462"/>
              <a:gd name="connsiteX3" fmla="*/ 0 w 9120917"/>
              <a:gd name="connsiteY3" fmla="*/ 579496 h 1965462"/>
              <a:gd name="connsiteX4" fmla="*/ 9120917 w 9120917"/>
              <a:gd name="connsiteY4" fmla="*/ 0 h 1965462"/>
              <a:gd name="connsiteX0" fmla="*/ 9120917 w 9120917"/>
              <a:gd name="connsiteY0" fmla="*/ 0 h 1965462"/>
              <a:gd name="connsiteX1" fmla="*/ 9119078 w 9120917"/>
              <a:gd name="connsiteY1" fmla="*/ 1965461 h 1965462"/>
              <a:gd name="connsiteX2" fmla="*/ 2397 w 9120917"/>
              <a:gd name="connsiteY2" fmla="*/ 1965462 h 1965462"/>
              <a:gd name="connsiteX3" fmla="*/ 0 w 9120917"/>
              <a:gd name="connsiteY3" fmla="*/ 579496 h 1965462"/>
              <a:gd name="connsiteX4" fmla="*/ 9120917 w 9120917"/>
              <a:gd name="connsiteY4" fmla="*/ 0 h 1965462"/>
              <a:gd name="connsiteX0" fmla="*/ 9121190 w 9121190"/>
              <a:gd name="connsiteY0" fmla="*/ 0 h 1970571"/>
              <a:gd name="connsiteX1" fmla="*/ 9119351 w 9121190"/>
              <a:gd name="connsiteY1" fmla="*/ 1965461 h 1970571"/>
              <a:gd name="connsiteX2" fmla="*/ 832 w 9121190"/>
              <a:gd name="connsiteY2" fmla="*/ 1970571 h 1970571"/>
              <a:gd name="connsiteX3" fmla="*/ 273 w 9121190"/>
              <a:gd name="connsiteY3" fmla="*/ 579496 h 1970571"/>
              <a:gd name="connsiteX4" fmla="*/ 9121190 w 9121190"/>
              <a:gd name="connsiteY4" fmla="*/ 0 h 1970571"/>
              <a:gd name="connsiteX0" fmla="*/ 9121190 w 9121190"/>
              <a:gd name="connsiteY0" fmla="*/ 0 h 1968017"/>
              <a:gd name="connsiteX1" fmla="*/ 9119351 w 9121190"/>
              <a:gd name="connsiteY1" fmla="*/ 1965461 h 1968017"/>
              <a:gd name="connsiteX2" fmla="*/ 832 w 9121190"/>
              <a:gd name="connsiteY2" fmla="*/ 1968017 h 1968017"/>
              <a:gd name="connsiteX3" fmla="*/ 273 w 9121190"/>
              <a:gd name="connsiteY3" fmla="*/ 579496 h 1968017"/>
              <a:gd name="connsiteX4" fmla="*/ 9121190 w 9121190"/>
              <a:gd name="connsiteY4" fmla="*/ 0 h 1968017"/>
              <a:gd name="connsiteX0" fmla="*/ 9121190 w 9121190"/>
              <a:gd name="connsiteY0" fmla="*/ 0 h 1968017"/>
              <a:gd name="connsiteX1" fmla="*/ 9119351 w 9121190"/>
              <a:gd name="connsiteY1" fmla="*/ 1965461 h 1968017"/>
              <a:gd name="connsiteX2" fmla="*/ 832 w 9121190"/>
              <a:gd name="connsiteY2" fmla="*/ 1968017 h 1968017"/>
              <a:gd name="connsiteX3" fmla="*/ 273 w 9121190"/>
              <a:gd name="connsiteY3" fmla="*/ 579496 h 1968017"/>
              <a:gd name="connsiteX4" fmla="*/ 9121190 w 9121190"/>
              <a:gd name="connsiteY4" fmla="*/ 0 h 1968017"/>
              <a:gd name="connsiteX0" fmla="*/ 9120917 w 9120917"/>
              <a:gd name="connsiteY0" fmla="*/ 0 h 1968017"/>
              <a:gd name="connsiteX1" fmla="*/ 9119078 w 9120917"/>
              <a:gd name="connsiteY1" fmla="*/ 1965461 h 1968017"/>
              <a:gd name="connsiteX2" fmla="*/ 2397 w 9120917"/>
              <a:gd name="connsiteY2" fmla="*/ 1968017 h 1968017"/>
              <a:gd name="connsiteX3" fmla="*/ 0 w 9120917"/>
              <a:gd name="connsiteY3" fmla="*/ 579496 h 1968017"/>
              <a:gd name="connsiteX4" fmla="*/ 9120917 w 9120917"/>
              <a:gd name="connsiteY4" fmla="*/ 0 h 1968017"/>
              <a:gd name="connsiteX0" fmla="*/ 9120917 w 9120917"/>
              <a:gd name="connsiteY0" fmla="*/ 0 h 1968017"/>
              <a:gd name="connsiteX1" fmla="*/ 9119078 w 9120917"/>
              <a:gd name="connsiteY1" fmla="*/ 1965461 h 1968017"/>
              <a:gd name="connsiteX2" fmla="*/ 2397 w 9120917"/>
              <a:gd name="connsiteY2" fmla="*/ 1968017 h 1968017"/>
              <a:gd name="connsiteX3" fmla="*/ 0 w 9120917"/>
              <a:gd name="connsiteY3" fmla="*/ 579496 h 1968017"/>
              <a:gd name="connsiteX4" fmla="*/ 9120917 w 9120917"/>
              <a:gd name="connsiteY4" fmla="*/ 0 h 1968017"/>
              <a:gd name="connsiteX0" fmla="*/ 9120917 w 9120917"/>
              <a:gd name="connsiteY0" fmla="*/ 0 h 1968017"/>
              <a:gd name="connsiteX1" fmla="*/ 9119078 w 9120917"/>
              <a:gd name="connsiteY1" fmla="*/ 1965461 h 1968017"/>
              <a:gd name="connsiteX2" fmla="*/ 2397 w 9120917"/>
              <a:gd name="connsiteY2" fmla="*/ 1968017 h 1968017"/>
              <a:gd name="connsiteX3" fmla="*/ 0 w 9120917"/>
              <a:gd name="connsiteY3" fmla="*/ 579496 h 1968017"/>
              <a:gd name="connsiteX4" fmla="*/ 9120917 w 9120917"/>
              <a:gd name="connsiteY4" fmla="*/ 0 h 1968017"/>
              <a:gd name="connsiteX0" fmla="*/ 9122197 w 9122197"/>
              <a:gd name="connsiteY0" fmla="*/ 0 h 1965463"/>
              <a:gd name="connsiteX1" fmla="*/ 9120358 w 9122197"/>
              <a:gd name="connsiteY1" fmla="*/ 1965461 h 1965463"/>
              <a:gd name="connsiteX2" fmla="*/ 0 w 9122197"/>
              <a:gd name="connsiteY2" fmla="*/ 1965463 h 1965463"/>
              <a:gd name="connsiteX3" fmla="*/ 1280 w 9122197"/>
              <a:gd name="connsiteY3" fmla="*/ 579496 h 1965463"/>
              <a:gd name="connsiteX4" fmla="*/ 9122197 w 9122197"/>
              <a:gd name="connsiteY4" fmla="*/ 0 h 1965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2197" h="1965463">
                <a:moveTo>
                  <a:pt x="9122197" y="0"/>
                </a:moveTo>
                <a:cubicBezTo>
                  <a:pt x="9119719" y="638864"/>
                  <a:pt x="9122836" y="1326597"/>
                  <a:pt x="9120358" y="1965461"/>
                </a:cubicBezTo>
                <a:lnTo>
                  <a:pt x="0" y="1965463"/>
                </a:lnTo>
                <a:cubicBezTo>
                  <a:pt x="427" y="1503474"/>
                  <a:pt x="853" y="1041485"/>
                  <a:pt x="1280" y="579496"/>
                </a:cubicBezTo>
                <a:lnTo>
                  <a:pt x="9122197" y="0"/>
                </a:lnTo>
                <a:close/>
              </a:path>
            </a:pathLst>
          </a:custGeom>
          <a:solidFill>
            <a:schemeClr val="accent3"/>
          </a:solidFill>
          <a:ln w="9525">
            <a:noFill/>
            <a:miter lim="800000"/>
            <a:headEnd/>
            <a:tailEnd/>
          </a:ln>
        </p:spPr>
        <p:txBody>
          <a:bodyPr wrap="square" lIns="72000" tIns="72000" rIns="72000" bIns="72000" rtlCol="0" anchor="ctr"/>
          <a:lstStyle/>
          <a:p>
            <a:pPr algn="ctr" eaLnBrk="0" hangingPunct="0"/>
            <a:endParaRPr lang="en-US" sz="1600" b="1" baseline="0" noProof="0">
              <a:latin typeface="+mn-lt"/>
              <a:ea typeface="+mn-ea"/>
              <a:cs typeface="+mn-cs"/>
            </a:endParaRPr>
          </a:p>
        </p:txBody>
      </p:sp>
      <p:sp>
        <p:nvSpPr>
          <p:cNvPr id="8" name="Title">
            <a:extLst>
              <a:ext uri="{FF2B5EF4-FFF2-40B4-BE49-F238E27FC236}">
                <a16:creationId xmlns:a16="http://schemas.microsoft.com/office/drawing/2014/main" id="{F95C3DD4-2582-4776-B0CC-687FF5436469}"/>
              </a:ext>
            </a:extLst>
          </p:cNvPr>
          <p:cNvSpPr>
            <a:spLocks noGrp="1"/>
          </p:cNvSpPr>
          <p:nvPr>
            <p:ph type="title" hasCustomPrompt="1"/>
          </p:nvPr>
        </p:nvSpPr>
        <p:spPr>
          <a:xfrm>
            <a:off x="251520" y="1601100"/>
            <a:ext cx="6103144" cy="512527"/>
          </a:xfrm>
        </p:spPr>
        <p:txBody>
          <a:bodyPr bIns="0"/>
          <a:lstStyle>
            <a:lvl1pPr>
              <a:defRPr sz="2400" baseline="0">
                <a:latin typeface="+mj-lt"/>
                <a:ea typeface="+mj-ea"/>
                <a:cs typeface="+mj-cs"/>
              </a:defRPr>
            </a:lvl1pPr>
          </a:lstStyle>
          <a:p>
            <a:r>
              <a:rPr lang="en-US" noProof="0"/>
              <a:t>Click to enter Section</a:t>
            </a:r>
          </a:p>
        </p:txBody>
      </p:sp>
      <p:sp>
        <p:nvSpPr>
          <p:cNvPr id="5" name="LOGO PROTECTION" hidden="1">
            <a:extLst>
              <a:ext uri="{FF2B5EF4-FFF2-40B4-BE49-F238E27FC236}">
                <a16:creationId xmlns:a16="http://schemas.microsoft.com/office/drawing/2014/main" id="{D0048F1C-4756-47EC-8B66-DB56E576453D}"/>
              </a:ext>
            </a:extLst>
          </p:cNvPr>
          <p:cNvSpPr/>
          <p:nvPr>
            <p:custDataLst>
              <p:tags r:id="rId1"/>
            </p:custDataLst>
          </p:nvPr>
        </p:nvSpPr>
        <p:spPr bwMode="auto">
          <a:xfrm>
            <a:off x="7598463" y="1"/>
            <a:ext cx="1545538" cy="627534"/>
          </a:xfrm>
          <a:prstGeom prst="rect">
            <a:avLst/>
          </a:prstGeom>
          <a:solidFill>
            <a:schemeClr val="accent3">
              <a:alpha val="50000"/>
            </a:schemeClr>
          </a:solidFill>
          <a:ln w="9525">
            <a:noFill/>
            <a:miter lim="800000"/>
            <a:headEnd/>
            <a:tailEnd/>
          </a:ln>
        </p:spPr>
        <p:txBody>
          <a:bodyPr wrap="square" lIns="54000" tIns="54000" rIns="54000" bIns="54000" rtlCol="0" anchor="ctr"/>
          <a:lstStyle/>
          <a:p>
            <a:pPr algn="ctr" eaLnBrk="0" hangingPunct="0"/>
            <a:endParaRPr lang="en-US" sz="1200" baseline="0" noProof="0">
              <a:latin typeface="+mn-lt"/>
              <a:ea typeface="+mn-ea"/>
              <a:cs typeface="+mn-cs"/>
            </a:endParaRPr>
          </a:p>
        </p:txBody>
      </p:sp>
      <p:sp>
        <p:nvSpPr>
          <p:cNvPr id="15" name="MIO_AGENDA_IGNORE_NAVIGATION" hidden="1">
            <a:extLst>
              <a:ext uri="{FF2B5EF4-FFF2-40B4-BE49-F238E27FC236}">
                <a16:creationId xmlns:a16="http://schemas.microsoft.com/office/drawing/2014/main" id="{33FB814B-5214-4193-99B5-0E31D6690784}"/>
              </a:ext>
            </a:extLst>
          </p:cNvPr>
          <p:cNvSpPr/>
          <p:nvPr/>
        </p:nvSpPr>
        <p:spPr bwMode="auto">
          <a:xfrm>
            <a:off x="8874822" y="87474"/>
            <a:ext cx="162018" cy="162018"/>
          </a:xfrm>
          <a:prstGeom prst="noSmoking">
            <a:avLst/>
          </a:prstGeom>
          <a:solidFill>
            <a:schemeClr val="accent4"/>
          </a:solidFill>
          <a:ln w="9525">
            <a:noFill/>
            <a:miter lim="800000"/>
            <a:headEnd/>
            <a:tailEnd/>
          </a:ln>
        </p:spPr>
        <p:txBody>
          <a:bodyPr wrap="square" lIns="54000" tIns="54000" rIns="54000" bIns="54000" rtlCol="0" anchor="ctr"/>
          <a:lstStyle/>
          <a:p>
            <a:pPr algn="ctr" eaLnBrk="0" hangingPunct="0"/>
            <a:endParaRPr lang="en-US" sz="1200" baseline="0" noProof="0">
              <a:latin typeface="+mn-lt"/>
              <a:ea typeface="+mn-ea"/>
              <a:cs typeface="+mn-cs"/>
            </a:endParaRPr>
          </a:p>
        </p:txBody>
      </p:sp>
      <p:sp>
        <p:nvSpPr>
          <p:cNvPr id="19" name="MIO_AGENDA_IGNORE_CHAPTER_REFERENCE" hidden="1">
            <a:extLst>
              <a:ext uri="{FF2B5EF4-FFF2-40B4-BE49-F238E27FC236}">
                <a16:creationId xmlns:a16="http://schemas.microsoft.com/office/drawing/2014/main" id="{524067FF-9067-40E5-ABF5-E79653E2B17D}"/>
              </a:ext>
            </a:extLst>
          </p:cNvPr>
          <p:cNvSpPr/>
          <p:nvPr/>
        </p:nvSpPr>
        <p:spPr bwMode="auto">
          <a:xfrm>
            <a:off x="8874822" y="87474"/>
            <a:ext cx="162018" cy="162018"/>
          </a:xfrm>
          <a:prstGeom prst="noSmoking">
            <a:avLst/>
          </a:prstGeom>
          <a:solidFill>
            <a:schemeClr val="accent4"/>
          </a:solidFill>
          <a:ln w="9525">
            <a:noFill/>
            <a:miter lim="800000"/>
            <a:headEnd/>
            <a:tailEnd/>
          </a:ln>
        </p:spPr>
        <p:txBody>
          <a:bodyPr wrap="square" lIns="54000" tIns="54000" rIns="54000" bIns="54000" rtlCol="0" anchor="ctr"/>
          <a:lstStyle/>
          <a:p>
            <a:pPr algn="ctr" eaLnBrk="0" hangingPunct="0"/>
            <a:endParaRPr lang="en-US" sz="1200" baseline="0" noProof="0">
              <a:latin typeface="+mn-lt"/>
              <a:ea typeface="+mn-ea"/>
              <a:cs typeface="+mn-cs"/>
            </a:endParaRPr>
          </a:p>
        </p:txBody>
      </p:sp>
      <p:sp>
        <p:nvSpPr>
          <p:cNvPr id="7" name="Date Placeholder 6">
            <a:extLst>
              <a:ext uri="{FF2B5EF4-FFF2-40B4-BE49-F238E27FC236}">
                <a16:creationId xmlns:a16="http://schemas.microsoft.com/office/drawing/2014/main" id="{0949F6EC-C7FD-4272-87A0-1C0174E09327}"/>
              </a:ext>
            </a:extLst>
          </p:cNvPr>
          <p:cNvSpPr>
            <a:spLocks noGrp="1"/>
          </p:cNvSpPr>
          <p:nvPr>
            <p:ph type="dt" sz="half" idx="10"/>
          </p:nvPr>
        </p:nvSpPr>
        <p:spPr/>
        <p:txBody>
          <a:bodyPr/>
          <a:lstStyle/>
          <a:p>
            <a:endParaRPr lang="en-US" b="1" dirty="0"/>
          </a:p>
        </p:txBody>
      </p:sp>
      <p:sp>
        <p:nvSpPr>
          <p:cNvPr id="9" name="Footer Placeholder 8">
            <a:extLst>
              <a:ext uri="{FF2B5EF4-FFF2-40B4-BE49-F238E27FC236}">
                <a16:creationId xmlns:a16="http://schemas.microsoft.com/office/drawing/2014/main" id="{44ED5823-C4CB-420B-B80B-942E31DCE162}"/>
              </a:ext>
            </a:extLst>
          </p:cNvPr>
          <p:cNvSpPr>
            <a:spLocks noGrp="1"/>
          </p:cNvSpPr>
          <p:nvPr>
            <p:ph type="ftr" sz="quarter" idx="11"/>
          </p:nvPr>
        </p:nvSpPr>
        <p:spPr/>
        <p:txBody>
          <a:bodyPr/>
          <a:lstStyle/>
          <a:p>
            <a:endParaRPr lang="en-US" dirty="0"/>
          </a:p>
        </p:txBody>
      </p:sp>
      <p:sp>
        <p:nvSpPr>
          <p:cNvPr id="18" name="Slide Number Placeholder 17" hidden="1">
            <a:extLst>
              <a:ext uri="{FF2B5EF4-FFF2-40B4-BE49-F238E27FC236}">
                <a16:creationId xmlns:a16="http://schemas.microsoft.com/office/drawing/2014/main" id="{4B1B9C5C-1639-4FEF-865D-BFEAD6451E85}"/>
              </a:ext>
            </a:extLst>
          </p:cNvPr>
          <p:cNvSpPr>
            <a:spLocks noGrp="1"/>
          </p:cNvSpPr>
          <p:nvPr>
            <p:ph type="sldNum" sz="quarter" idx="12"/>
          </p:nvPr>
        </p:nvSpPr>
        <p:spPr/>
        <p:txBody>
          <a:bodyPr/>
          <a:lstStyle/>
          <a:p>
            <a:r>
              <a:rPr lang="en-US"/>
              <a:t> </a:t>
            </a:r>
            <a:endParaRPr lang="en-US" dirty="0"/>
          </a:p>
        </p:txBody>
      </p:sp>
    </p:spTree>
    <p:extLst>
      <p:ext uri="{BB962C8B-B14F-4D97-AF65-F5344CB8AC3E}">
        <p14:creationId xmlns:p14="http://schemas.microsoft.com/office/powerpoint/2010/main" val="3452276817"/>
      </p:ext>
    </p:extLst>
  </p:cSld>
  <p:clrMapOvr>
    <a:masterClrMapping/>
  </p:clrMapOvr>
  <p:hf hdr="0"/>
  <p:extLst mod="1">
    <p:ext uri="{DCECCB84-F9BA-43D5-87BE-67443E8EF086}">
      <p15:sldGuideLst xmlns:p15="http://schemas.microsoft.com/office/powerpoint/2012/main">
        <p15:guide id="1" pos="4002" userDrawn="1">
          <p15:clr>
            <a:srgbClr val="FBAE40"/>
          </p15:clr>
        </p15:guide>
        <p15:guide id="2" pos="156" userDrawn="1">
          <p15:clr>
            <a:srgbClr val="FBAE40"/>
          </p15:clr>
        </p15:guide>
        <p15:guide id="3" orient="horz" pos="1008" userDrawn="1">
          <p15:clr>
            <a:srgbClr val="FBAE40"/>
          </p15:clr>
        </p15:guide>
        <p15:guide id="4" orient="horz" pos="1332"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tags" Target="../tags/tag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tags" Target="../tags/tag8.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blackWhite">
      <p:bgPr>
        <a:solidFill>
          <a:schemeClr val="bg1"/>
        </a:solidFill>
        <a:effectLst/>
      </p:bgPr>
    </p:bg>
    <p:spTree>
      <p:nvGrpSpPr>
        <p:cNvPr id="1" name=""/>
        <p:cNvGrpSpPr/>
        <p:nvPr/>
      </p:nvGrpSpPr>
      <p:grpSpPr>
        <a:xfrm>
          <a:off x="0" y="0"/>
          <a:ext cx="0" cy="0"/>
          <a:chOff x="0" y="0"/>
          <a:chExt cx="0" cy="0"/>
        </a:xfrm>
      </p:grpSpPr>
      <p:sp>
        <p:nvSpPr>
          <p:cNvPr id="19" name="Deco Shape Right">
            <a:extLst>
              <a:ext uri="{FF2B5EF4-FFF2-40B4-BE49-F238E27FC236}">
                <a16:creationId xmlns:a16="http://schemas.microsoft.com/office/drawing/2014/main" id="{0FEC887A-3A42-42E1-B795-C3A79C447F1E}"/>
              </a:ext>
            </a:extLst>
          </p:cNvPr>
          <p:cNvSpPr>
            <a:spLocks/>
          </p:cNvSpPr>
          <p:nvPr>
            <p:custDataLst>
              <p:tags r:id="rId21"/>
            </p:custDataLst>
          </p:nvPr>
        </p:nvSpPr>
        <p:spPr bwMode="auto">
          <a:xfrm>
            <a:off x="8755586" y="4867006"/>
            <a:ext cx="388923" cy="276495"/>
          </a:xfrm>
          <a:custGeom>
            <a:avLst/>
            <a:gdLst>
              <a:gd name="connsiteX0" fmla="*/ 233365 w 388923"/>
              <a:gd name="connsiteY0" fmla="*/ 0 h 268456"/>
              <a:gd name="connsiteX1" fmla="*/ 388923 w 388923"/>
              <a:gd name="connsiteY1" fmla="*/ 0 h 268456"/>
              <a:gd name="connsiteX2" fmla="*/ 388923 w 388923"/>
              <a:gd name="connsiteY2" fmla="*/ 268456 h 268456"/>
              <a:gd name="connsiteX3" fmla="*/ 0 w 388923"/>
              <a:gd name="connsiteY3" fmla="*/ 268456 h 268456"/>
            </a:gdLst>
            <a:ahLst/>
            <a:cxnLst>
              <a:cxn ang="0">
                <a:pos x="connsiteX0" y="connsiteY0"/>
              </a:cxn>
              <a:cxn ang="0">
                <a:pos x="connsiteX1" y="connsiteY1"/>
              </a:cxn>
              <a:cxn ang="0">
                <a:pos x="connsiteX2" y="connsiteY2"/>
              </a:cxn>
              <a:cxn ang="0">
                <a:pos x="connsiteX3" y="connsiteY3"/>
              </a:cxn>
            </a:cxnLst>
            <a:rect l="l" t="t" r="r" b="b"/>
            <a:pathLst>
              <a:path w="388923" h="268456">
                <a:moveTo>
                  <a:pt x="233365" y="0"/>
                </a:moveTo>
                <a:lnTo>
                  <a:pt x="388923" y="0"/>
                </a:lnTo>
                <a:lnTo>
                  <a:pt x="388923" y="268456"/>
                </a:lnTo>
                <a:lnTo>
                  <a:pt x="0" y="268456"/>
                </a:lnTo>
                <a:close/>
              </a:path>
            </a:pathLst>
          </a:custGeom>
          <a:solidFill>
            <a:schemeClr val="accent4"/>
          </a:solidFill>
          <a:ln w="9525">
            <a:noFill/>
            <a:miter lim="800000"/>
            <a:headEnd/>
            <a:tailEnd/>
          </a:ln>
        </p:spPr>
        <p:txBody>
          <a:bodyPr wrap="square" lIns="72000" tIns="72000" rIns="72000" bIns="72000" rtlCol="0" anchor="ctr">
            <a:noAutofit/>
          </a:bodyPr>
          <a:lstStyle/>
          <a:p>
            <a:pPr lvl="0" algn="ctr" eaLnBrk="0" hangingPunct="0"/>
            <a:endParaRPr lang="en-US" sz="700" baseline="0" noProof="0" dirty="0">
              <a:latin typeface="+mn-lt"/>
              <a:ea typeface="+mn-ea"/>
              <a:cs typeface="+mn-cs"/>
            </a:endParaRPr>
          </a:p>
        </p:txBody>
      </p:sp>
      <p:sp>
        <p:nvSpPr>
          <p:cNvPr id="20" name="Deco Shape Left">
            <a:extLst>
              <a:ext uri="{FF2B5EF4-FFF2-40B4-BE49-F238E27FC236}">
                <a16:creationId xmlns:a16="http://schemas.microsoft.com/office/drawing/2014/main" id="{115C01C8-35B4-47DF-87EA-B41C01532174}"/>
              </a:ext>
            </a:extLst>
          </p:cNvPr>
          <p:cNvSpPr/>
          <p:nvPr>
            <p:custDataLst>
              <p:tags r:id="rId22"/>
            </p:custDataLst>
          </p:nvPr>
        </p:nvSpPr>
        <p:spPr bwMode="auto">
          <a:xfrm>
            <a:off x="8040579" y="4867006"/>
            <a:ext cx="933190" cy="276495"/>
          </a:xfrm>
          <a:custGeom>
            <a:avLst/>
            <a:gdLst>
              <a:gd name="connsiteX0" fmla="*/ 0 w 933190"/>
              <a:gd name="connsiteY0" fmla="*/ 0 h 267494"/>
              <a:gd name="connsiteX1" fmla="*/ 933190 w 933190"/>
              <a:gd name="connsiteY1" fmla="*/ 0 h 267494"/>
              <a:gd name="connsiteX2" fmla="*/ 700660 w 933190"/>
              <a:gd name="connsiteY2" fmla="*/ 267494 h 267494"/>
              <a:gd name="connsiteX3" fmla="*/ 42367 w 933190"/>
              <a:gd name="connsiteY3" fmla="*/ 267494 h 267494"/>
            </a:gdLst>
            <a:ahLst/>
            <a:cxnLst>
              <a:cxn ang="0">
                <a:pos x="connsiteX0" y="connsiteY0"/>
              </a:cxn>
              <a:cxn ang="0">
                <a:pos x="connsiteX1" y="connsiteY1"/>
              </a:cxn>
              <a:cxn ang="0">
                <a:pos x="connsiteX2" y="connsiteY2"/>
              </a:cxn>
              <a:cxn ang="0">
                <a:pos x="connsiteX3" y="connsiteY3"/>
              </a:cxn>
            </a:cxnLst>
            <a:rect l="l" t="t" r="r" b="b"/>
            <a:pathLst>
              <a:path w="933190" h="267494">
                <a:moveTo>
                  <a:pt x="0" y="0"/>
                </a:moveTo>
                <a:lnTo>
                  <a:pt x="933190" y="0"/>
                </a:lnTo>
                <a:lnTo>
                  <a:pt x="700660" y="267494"/>
                </a:lnTo>
                <a:lnTo>
                  <a:pt x="42367" y="267494"/>
                </a:lnTo>
                <a:close/>
              </a:path>
            </a:pathLst>
          </a:custGeom>
          <a:solidFill>
            <a:schemeClr val="accent3"/>
          </a:solidFill>
          <a:ln w="9525">
            <a:noFill/>
            <a:miter lim="800000"/>
            <a:headEnd/>
            <a:tailEnd/>
          </a:ln>
        </p:spPr>
        <p:txBody>
          <a:bodyPr wrap="square" lIns="72000" tIns="72000" rIns="72000" bIns="72000" rtlCol="0" anchor="ctr">
            <a:noAutofit/>
          </a:bodyPr>
          <a:lstStyle/>
          <a:p>
            <a:pPr lvl="0" algn="ctr" eaLnBrk="0" hangingPunct="0"/>
            <a:endParaRPr lang="en-US" sz="675" baseline="0" noProof="0" dirty="0">
              <a:latin typeface="+mn-lt"/>
              <a:ea typeface="+mn-ea"/>
              <a:cs typeface="+mn-cs"/>
            </a:endParaRPr>
          </a:p>
        </p:txBody>
      </p:sp>
      <p:cxnSp>
        <p:nvCxnSpPr>
          <p:cNvPr id="18" name="Line Bottom">
            <a:extLst>
              <a:ext uri="{FF2B5EF4-FFF2-40B4-BE49-F238E27FC236}">
                <a16:creationId xmlns:a16="http://schemas.microsoft.com/office/drawing/2014/main" id="{50DF868B-BD2D-490A-A05B-F87011512922}"/>
              </a:ext>
            </a:extLst>
          </p:cNvPr>
          <p:cNvCxnSpPr>
            <a:cxnSpLocks/>
          </p:cNvCxnSpPr>
          <p:nvPr>
            <p:custDataLst>
              <p:tags r:id="rId23"/>
            </p:custDataLst>
          </p:nvPr>
        </p:nvCxnSpPr>
        <p:spPr>
          <a:xfrm>
            <a:off x="0" y="4867005"/>
            <a:ext cx="9144900" cy="0"/>
          </a:xfrm>
          <a:prstGeom prst="line">
            <a:avLst/>
          </a:prstGeom>
          <a:ln w="9525">
            <a:solidFill>
              <a:srgbClr val="B0A5A7"/>
            </a:solidFill>
            <a:tailEnd type="none"/>
          </a:ln>
        </p:spPr>
        <p:style>
          <a:lnRef idx="1">
            <a:schemeClr val="accent1"/>
          </a:lnRef>
          <a:fillRef idx="0">
            <a:schemeClr val="accent1"/>
          </a:fillRef>
          <a:effectRef idx="0">
            <a:schemeClr val="accent1"/>
          </a:effectRef>
          <a:fontRef idx="minor">
            <a:schemeClr val="tx1"/>
          </a:fontRef>
        </p:style>
      </p:cxnSp>
      <p:sp>
        <p:nvSpPr>
          <p:cNvPr id="5" name="Slide Number Placeholder" hidden="1">
            <a:extLst>
              <a:ext uri="{FF2B5EF4-FFF2-40B4-BE49-F238E27FC236}">
                <a16:creationId xmlns:a16="http://schemas.microsoft.com/office/drawing/2014/main" id="{372AE43B-8F10-43C8-8785-1E1CB85CFADE}"/>
              </a:ext>
            </a:extLst>
          </p:cNvPr>
          <p:cNvSpPr>
            <a:spLocks noGrp="1"/>
          </p:cNvSpPr>
          <p:nvPr>
            <p:ph type="sldNum" sz="quarter" idx="4"/>
            <p:custDataLst>
              <p:tags r:id="rId24"/>
            </p:custDataLst>
          </p:nvPr>
        </p:nvSpPr>
        <p:spPr>
          <a:xfrm>
            <a:off x="9144000" y="5143500"/>
            <a:ext cx="0" cy="0"/>
          </a:xfrm>
          <a:prstGeom prst="rect">
            <a:avLst/>
          </a:prstGeom>
        </p:spPr>
        <p:txBody>
          <a:bodyPr vert="horz" wrap="none" lIns="0" tIns="0" rIns="0" bIns="0" rtlCol="0" anchor="b">
            <a:noAutofit/>
          </a:bodyPr>
          <a:lstStyle>
            <a:lvl1pPr algn="r" fontAlgn="t">
              <a:buClr>
                <a:srgbClr val="928285"/>
              </a:buClr>
              <a:defRPr sz="100" b="0">
                <a:noFill/>
                <a:latin typeface="+mn-lt"/>
                <a:ea typeface="+mn-ea"/>
                <a:cs typeface="+mn-cs"/>
              </a:defRPr>
            </a:lvl1pPr>
          </a:lstStyle>
          <a:p>
            <a:fld id="{6587A654-9281-4357-A6E9-24B9BB00BF8E}" type="slidenum">
              <a:rPr lang="en-SG" smtClean="0"/>
              <a:t>‹#›</a:t>
            </a:fld>
            <a:endParaRPr lang="en-SG" dirty="0"/>
          </a:p>
        </p:txBody>
      </p:sp>
      <p:sp>
        <p:nvSpPr>
          <p:cNvPr id="7" name="Footer Placeholder">
            <a:extLst>
              <a:ext uri="{FF2B5EF4-FFF2-40B4-BE49-F238E27FC236}">
                <a16:creationId xmlns:a16="http://schemas.microsoft.com/office/drawing/2014/main" id="{4D268FD3-4056-49DC-8C79-D4C201EED65B}"/>
              </a:ext>
            </a:extLst>
          </p:cNvPr>
          <p:cNvSpPr>
            <a:spLocks noGrp="1"/>
          </p:cNvSpPr>
          <p:nvPr>
            <p:ph type="ftr" sz="quarter" idx="3"/>
            <p:custDataLst>
              <p:tags r:id="rId25"/>
            </p:custDataLst>
          </p:nvPr>
        </p:nvSpPr>
        <p:spPr>
          <a:xfrm>
            <a:off x="9144000" y="5143500"/>
            <a:ext cx="0" cy="0"/>
          </a:xfrm>
          <a:prstGeom prst="rect">
            <a:avLst/>
          </a:prstGeom>
        </p:spPr>
        <p:txBody>
          <a:bodyPr vert="horz" wrap="none" lIns="0" tIns="0" rIns="0" bIns="0" rtlCol="0" anchor="b">
            <a:noAutofit/>
          </a:bodyPr>
          <a:lstStyle>
            <a:lvl1pPr algn="r" fontAlgn="t">
              <a:buClr>
                <a:schemeClr val="accent2"/>
              </a:buClr>
              <a:defRPr sz="100" b="0">
                <a:noFill/>
                <a:latin typeface="+mn-lt"/>
                <a:ea typeface="+mn-ea"/>
              </a:defRPr>
            </a:lvl1pPr>
          </a:lstStyle>
          <a:p>
            <a:endParaRPr lang="en-SG" dirty="0"/>
          </a:p>
        </p:txBody>
      </p:sp>
      <p:cxnSp>
        <p:nvCxnSpPr>
          <p:cNvPr id="9" name="Line Top">
            <a:extLst>
              <a:ext uri="{FF2B5EF4-FFF2-40B4-BE49-F238E27FC236}">
                <a16:creationId xmlns:a16="http://schemas.microsoft.com/office/drawing/2014/main" id="{F58AA643-AEA6-4443-BCBC-495B84238BF5}"/>
              </a:ext>
            </a:extLst>
          </p:cNvPr>
          <p:cNvCxnSpPr>
            <a:cxnSpLocks/>
          </p:cNvCxnSpPr>
          <p:nvPr>
            <p:custDataLst>
              <p:tags r:id="rId26"/>
            </p:custDataLst>
          </p:nvPr>
        </p:nvCxnSpPr>
        <p:spPr>
          <a:xfrm>
            <a:off x="250826" y="681541"/>
            <a:ext cx="8640763" cy="0"/>
          </a:xfrm>
          <a:prstGeom prst="line">
            <a:avLst/>
          </a:prstGeom>
          <a:ln w="9525">
            <a:solidFill>
              <a:srgbClr val="B0A5A7"/>
            </a:solidFill>
            <a:tailEnd type="none"/>
          </a:ln>
        </p:spPr>
        <p:style>
          <a:lnRef idx="1">
            <a:schemeClr val="accent1"/>
          </a:lnRef>
          <a:fillRef idx="0">
            <a:schemeClr val="accent1"/>
          </a:fillRef>
          <a:effectRef idx="0">
            <a:schemeClr val="accent1"/>
          </a:effectRef>
          <a:fontRef idx="minor">
            <a:schemeClr val="tx1"/>
          </a:fontRef>
        </p:style>
      </p:cxnSp>
      <p:sp>
        <p:nvSpPr>
          <p:cNvPr id="15" name="Title"/>
          <p:cNvSpPr>
            <a:spLocks noGrp="1"/>
          </p:cNvSpPr>
          <p:nvPr>
            <p:ph type="title"/>
          </p:nvPr>
        </p:nvSpPr>
        <p:spPr>
          <a:xfrm>
            <a:off x="251520" y="141540"/>
            <a:ext cx="7209801" cy="540000"/>
          </a:xfrm>
          <a:prstGeom prst="rect">
            <a:avLst/>
          </a:prstGeom>
        </p:spPr>
        <p:txBody>
          <a:bodyPr vert="horz" lIns="0" tIns="0" rIns="0" bIns="10800" rtlCol="0" anchor="b" anchorCtr="0">
            <a:noAutofit/>
          </a:bodyPr>
          <a:lstStyle/>
          <a:p>
            <a:r>
              <a:rPr lang="en-US" noProof="0" dirty="0"/>
              <a:t>Click to edit title</a:t>
            </a:r>
          </a:p>
        </p:txBody>
      </p:sp>
      <p:sp>
        <p:nvSpPr>
          <p:cNvPr id="16" name="Content"/>
          <p:cNvSpPr>
            <a:spLocks noGrp="1"/>
          </p:cNvSpPr>
          <p:nvPr>
            <p:ph type="body" idx="1"/>
          </p:nvPr>
        </p:nvSpPr>
        <p:spPr>
          <a:xfrm>
            <a:off x="250826" y="951311"/>
            <a:ext cx="8640763" cy="3835003"/>
          </a:xfrm>
          <a:prstGeom prst="rect">
            <a:avLst/>
          </a:prstGeom>
        </p:spPr>
        <p:txBody>
          <a:bodyPr vert="horz" lIns="0" tIns="0" rIns="0" bIns="0" rtlCol="0">
            <a:noAutofit/>
          </a:body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6" name="Date Placeholder">
            <a:extLst>
              <a:ext uri="{FF2B5EF4-FFF2-40B4-BE49-F238E27FC236}">
                <a16:creationId xmlns:a16="http://schemas.microsoft.com/office/drawing/2014/main" id="{59032602-9911-40B1-9BF6-AFD731868C06}"/>
              </a:ext>
            </a:extLst>
          </p:cNvPr>
          <p:cNvSpPr>
            <a:spLocks noGrp="1"/>
          </p:cNvSpPr>
          <p:nvPr>
            <p:ph type="dt" sz="half" idx="2"/>
            <p:custDataLst>
              <p:tags r:id="rId27"/>
            </p:custDataLst>
          </p:nvPr>
        </p:nvSpPr>
        <p:spPr>
          <a:xfrm>
            <a:off x="9144000" y="5143500"/>
            <a:ext cx="0" cy="0"/>
          </a:xfrm>
          <a:prstGeom prst="rect">
            <a:avLst/>
          </a:prstGeom>
        </p:spPr>
        <p:txBody>
          <a:bodyPr vert="horz" wrap="none" lIns="0" tIns="0" rIns="0" bIns="0" rtlCol="0" anchor="b">
            <a:noAutofit/>
          </a:bodyPr>
          <a:lstStyle>
            <a:lvl1pPr algn="r" fontAlgn="t">
              <a:buClr>
                <a:schemeClr val="accent2"/>
              </a:buClr>
              <a:defRPr sz="100" b="0">
                <a:noFill/>
                <a:latin typeface="+mn-lt"/>
                <a:ea typeface="+mn-ea"/>
              </a:defRPr>
            </a:lvl1pPr>
          </a:lstStyle>
          <a:p>
            <a:fld id="{7BCC7319-7EDB-41AC-81C6-11D6C442CBEE}" type="datetimeFigureOut">
              <a:rPr lang="en-SG" smtClean="0"/>
              <a:t>28/7/2022</a:t>
            </a:fld>
            <a:endParaRPr lang="en-SG" dirty="0"/>
          </a:p>
        </p:txBody>
      </p:sp>
      <p:grpSp>
        <p:nvGrpSpPr>
          <p:cNvPr id="2" name="Logo">
            <a:extLst>
              <a:ext uri="{FF2B5EF4-FFF2-40B4-BE49-F238E27FC236}">
                <a16:creationId xmlns:a16="http://schemas.microsoft.com/office/drawing/2014/main" id="{09F6C2B3-52AF-4C87-8DA7-D88B6BD510D6}"/>
              </a:ext>
            </a:extLst>
          </p:cNvPr>
          <p:cNvGrpSpPr/>
          <p:nvPr/>
        </p:nvGrpSpPr>
        <p:grpSpPr>
          <a:xfrm>
            <a:off x="7994814" y="145267"/>
            <a:ext cx="905052" cy="396043"/>
            <a:chOff x="10659752" y="193689"/>
            <a:chExt cx="1206736" cy="528057"/>
          </a:xfrm>
        </p:grpSpPr>
        <p:sp>
          <p:nvSpPr>
            <p:cNvPr id="10" name="Freeform: Shape 9">
              <a:extLst>
                <a:ext uri="{FF2B5EF4-FFF2-40B4-BE49-F238E27FC236}">
                  <a16:creationId xmlns:a16="http://schemas.microsoft.com/office/drawing/2014/main" id="{B481A94B-AD7D-4E10-A0F1-8388E7B440B1}"/>
                </a:ext>
              </a:extLst>
            </p:cNvPr>
            <p:cNvSpPr/>
            <p:nvPr/>
          </p:nvSpPr>
          <p:spPr>
            <a:xfrm>
              <a:off x="10819003" y="243412"/>
              <a:ext cx="932942" cy="305729"/>
            </a:xfrm>
            <a:custGeom>
              <a:avLst/>
              <a:gdLst>
                <a:gd name="connsiteX0" fmla="*/ 740052 w 932942"/>
                <a:gd name="connsiteY0" fmla="*/ 305729 h 305729"/>
                <a:gd name="connsiteX1" fmla="*/ 799239 w 932942"/>
                <a:gd name="connsiteY1" fmla="*/ 214181 h 305729"/>
                <a:gd name="connsiteX2" fmla="*/ 740052 w 932942"/>
                <a:gd name="connsiteY2" fmla="*/ 124761 h 305729"/>
                <a:gd name="connsiteX3" fmla="*/ 681717 w 932942"/>
                <a:gd name="connsiteY3" fmla="*/ 215032 h 305729"/>
                <a:gd name="connsiteX4" fmla="*/ 740052 w 932942"/>
                <a:gd name="connsiteY4" fmla="*/ 305729 h 305729"/>
                <a:gd name="connsiteX5" fmla="*/ 717910 w 932942"/>
                <a:gd name="connsiteY5" fmla="*/ 213755 h 305729"/>
                <a:gd name="connsiteX6" fmla="*/ 740052 w 932942"/>
                <a:gd name="connsiteY6" fmla="*/ 155419 h 305729"/>
                <a:gd name="connsiteX7" fmla="*/ 763046 w 932942"/>
                <a:gd name="connsiteY7" fmla="*/ 214606 h 305729"/>
                <a:gd name="connsiteX8" fmla="*/ 740904 w 932942"/>
                <a:gd name="connsiteY8" fmla="*/ 275923 h 305729"/>
                <a:gd name="connsiteX9" fmla="*/ 717910 w 932942"/>
                <a:gd name="connsiteY9" fmla="*/ 213755 h 305729"/>
                <a:gd name="connsiteX10" fmla="*/ 608904 w 932942"/>
                <a:gd name="connsiteY10" fmla="*/ 305729 h 305729"/>
                <a:gd name="connsiteX11" fmla="*/ 657871 w 932942"/>
                <a:gd name="connsiteY11" fmla="*/ 282735 h 305729"/>
                <a:gd name="connsiteX12" fmla="*/ 644671 w 932942"/>
                <a:gd name="connsiteY12" fmla="*/ 258039 h 305729"/>
                <a:gd name="connsiteX13" fmla="*/ 611884 w 932942"/>
                <a:gd name="connsiteY13" fmla="*/ 275071 h 305729"/>
                <a:gd name="connsiteX14" fmla="*/ 588039 w 932942"/>
                <a:gd name="connsiteY14" fmla="*/ 258890 h 305729"/>
                <a:gd name="connsiteX15" fmla="*/ 582929 w 932942"/>
                <a:gd name="connsiteY15" fmla="*/ 228658 h 305729"/>
                <a:gd name="connsiteX16" fmla="*/ 582929 w 932942"/>
                <a:gd name="connsiteY16" fmla="*/ 225252 h 305729"/>
                <a:gd name="connsiteX17" fmla="*/ 659575 w 932942"/>
                <a:gd name="connsiteY17" fmla="*/ 225252 h 305729"/>
                <a:gd name="connsiteX18" fmla="*/ 659575 w 932942"/>
                <a:gd name="connsiteY18" fmla="*/ 217587 h 305729"/>
                <a:gd name="connsiteX19" fmla="*/ 642968 w 932942"/>
                <a:gd name="connsiteY19" fmla="*/ 143071 h 305729"/>
                <a:gd name="connsiteX20" fmla="*/ 604645 w 932942"/>
                <a:gd name="connsiteY20" fmla="*/ 124761 h 305729"/>
                <a:gd name="connsiteX21" fmla="*/ 563342 w 932942"/>
                <a:gd name="connsiteY21" fmla="*/ 147329 h 305729"/>
                <a:gd name="connsiteX22" fmla="*/ 547587 w 932942"/>
                <a:gd name="connsiteY22" fmla="*/ 215032 h 305729"/>
                <a:gd name="connsiteX23" fmla="*/ 608904 w 932942"/>
                <a:gd name="connsiteY23" fmla="*/ 305729 h 305729"/>
                <a:gd name="connsiteX24" fmla="*/ 605071 w 932942"/>
                <a:gd name="connsiteY24" fmla="*/ 152865 h 305729"/>
                <a:gd name="connsiteX25" fmla="*/ 622104 w 932942"/>
                <a:gd name="connsiteY25" fmla="*/ 165213 h 305729"/>
                <a:gd name="connsiteX26" fmla="*/ 625936 w 932942"/>
                <a:gd name="connsiteY26" fmla="*/ 197148 h 305729"/>
                <a:gd name="connsiteX27" fmla="*/ 582929 w 932942"/>
                <a:gd name="connsiteY27" fmla="*/ 197148 h 305729"/>
                <a:gd name="connsiteX28" fmla="*/ 605071 w 932942"/>
                <a:gd name="connsiteY28" fmla="*/ 152865 h 305729"/>
                <a:gd name="connsiteX29" fmla="*/ 827342 w 932942"/>
                <a:gd name="connsiteY29" fmla="*/ 301471 h 305729"/>
                <a:gd name="connsiteX30" fmla="*/ 860555 w 932942"/>
                <a:gd name="connsiteY30" fmla="*/ 301471 h 305729"/>
                <a:gd name="connsiteX31" fmla="*/ 860555 w 932942"/>
                <a:gd name="connsiteY31" fmla="*/ 173729 h 305729"/>
                <a:gd name="connsiteX32" fmla="*/ 884826 w 932942"/>
                <a:gd name="connsiteY32" fmla="*/ 158400 h 305729"/>
                <a:gd name="connsiteX33" fmla="*/ 895897 w 932942"/>
                <a:gd name="connsiteY33" fmla="*/ 162658 h 305729"/>
                <a:gd name="connsiteX34" fmla="*/ 899730 w 932942"/>
                <a:gd name="connsiteY34" fmla="*/ 185226 h 305729"/>
                <a:gd name="connsiteX35" fmla="*/ 899730 w 932942"/>
                <a:gd name="connsiteY35" fmla="*/ 301471 h 305729"/>
                <a:gd name="connsiteX36" fmla="*/ 932942 w 932942"/>
                <a:gd name="connsiteY36" fmla="*/ 301471 h 305729"/>
                <a:gd name="connsiteX37" fmla="*/ 932942 w 932942"/>
                <a:gd name="connsiteY37" fmla="*/ 169897 h 305729"/>
                <a:gd name="connsiteX38" fmla="*/ 924852 w 932942"/>
                <a:gd name="connsiteY38" fmla="*/ 138387 h 305729"/>
                <a:gd name="connsiteX39" fmla="*/ 897601 w 932942"/>
                <a:gd name="connsiteY39" fmla="*/ 126039 h 305729"/>
                <a:gd name="connsiteX40" fmla="*/ 858000 w 932942"/>
                <a:gd name="connsiteY40" fmla="*/ 145200 h 305729"/>
                <a:gd name="connsiteX41" fmla="*/ 853742 w 932942"/>
                <a:gd name="connsiteY41" fmla="*/ 124761 h 305729"/>
                <a:gd name="connsiteX42" fmla="*/ 822659 w 932942"/>
                <a:gd name="connsiteY42" fmla="*/ 132852 h 305729"/>
                <a:gd name="connsiteX43" fmla="*/ 826917 w 932942"/>
                <a:gd name="connsiteY43" fmla="*/ 174581 h 305729"/>
                <a:gd name="connsiteX44" fmla="*/ 826917 w 932942"/>
                <a:gd name="connsiteY44" fmla="*/ 301471 h 305729"/>
                <a:gd name="connsiteX45" fmla="*/ 441562 w 932942"/>
                <a:gd name="connsiteY45" fmla="*/ 145200 h 305729"/>
                <a:gd name="connsiteX46" fmla="*/ 437304 w 932942"/>
                <a:gd name="connsiteY46" fmla="*/ 124761 h 305729"/>
                <a:gd name="connsiteX47" fmla="*/ 406220 w 932942"/>
                <a:gd name="connsiteY47" fmla="*/ 132852 h 305729"/>
                <a:gd name="connsiteX48" fmla="*/ 410478 w 932942"/>
                <a:gd name="connsiteY48" fmla="*/ 174581 h 305729"/>
                <a:gd name="connsiteX49" fmla="*/ 410478 w 932942"/>
                <a:gd name="connsiteY49" fmla="*/ 301045 h 305729"/>
                <a:gd name="connsiteX50" fmla="*/ 443691 w 932942"/>
                <a:gd name="connsiteY50" fmla="*/ 301045 h 305729"/>
                <a:gd name="connsiteX51" fmla="*/ 443691 w 932942"/>
                <a:gd name="connsiteY51" fmla="*/ 173303 h 305729"/>
                <a:gd name="connsiteX52" fmla="*/ 467962 w 932942"/>
                <a:gd name="connsiteY52" fmla="*/ 157974 h 305729"/>
                <a:gd name="connsiteX53" fmla="*/ 479033 w 932942"/>
                <a:gd name="connsiteY53" fmla="*/ 162232 h 305729"/>
                <a:gd name="connsiteX54" fmla="*/ 482865 w 932942"/>
                <a:gd name="connsiteY54" fmla="*/ 184800 h 305729"/>
                <a:gd name="connsiteX55" fmla="*/ 482865 w 932942"/>
                <a:gd name="connsiteY55" fmla="*/ 301045 h 305729"/>
                <a:gd name="connsiteX56" fmla="*/ 516078 w 932942"/>
                <a:gd name="connsiteY56" fmla="*/ 301045 h 305729"/>
                <a:gd name="connsiteX57" fmla="*/ 516078 w 932942"/>
                <a:gd name="connsiteY57" fmla="*/ 169897 h 305729"/>
                <a:gd name="connsiteX58" fmla="*/ 507987 w 932942"/>
                <a:gd name="connsiteY58" fmla="*/ 138387 h 305729"/>
                <a:gd name="connsiteX59" fmla="*/ 480736 w 932942"/>
                <a:gd name="connsiteY59" fmla="*/ 126039 h 305729"/>
                <a:gd name="connsiteX60" fmla="*/ 441562 w 932942"/>
                <a:gd name="connsiteY60" fmla="*/ 145200 h 305729"/>
                <a:gd name="connsiteX61" fmla="*/ 35342 w 932942"/>
                <a:gd name="connsiteY61" fmla="*/ 70684 h 305729"/>
                <a:gd name="connsiteX62" fmla="*/ 70684 w 932942"/>
                <a:gd name="connsiteY62" fmla="*/ 35342 h 305729"/>
                <a:gd name="connsiteX63" fmla="*/ 35342 w 932942"/>
                <a:gd name="connsiteY63" fmla="*/ 0 h 305729"/>
                <a:gd name="connsiteX64" fmla="*/ 0 w 932942"/>
                <a:gd name="connsiteY64" fmla="*/ 35342 h 305729"/>
                <a:gd name="connsiteX65" fmla="*/ 35342 w 932942"/>
                <a:gd name="connsiteY65" fmla="*/ 70684 h 305729"/>
                <a:gd name="connsiteX66" fmla="*/ 198426 w 932942"/>
                <a:gd name="connsiteY66" fmla="*/ 301471 h 305729"/>
                <a:gd name="connsiteX67" fmla="*/ 198426 w 932942"/>
                <a:gd name="connsiteY67" fmla="*/ 169897 h 305729"/>
                <a:gd name="connsiteX68" fmla="*/ 190336 w 932942"/>
                <a:gd name="connsiteY68" fmla="*/ 138387 h 305729"/>
                <a:gd name="connsiteX69" fmla="*/ 163084 w 932942"/>
                <a:gd name="connsiteY69" fmla="*/ 126039 h 305729"/>
                <a:gd name="connsiteX70" fmla="*/ 123484 w 932942"/>
                <a:gd name="connsiteY70" fmla="*/ 145200 h 305729"/>
                <a:gd name="connsiteX71" fmla="*/ 119226 w 932942"/>
                <a:gd name="connsiteY71" fmla="*/ 124761 h 305729"/>
                <a:gd name="connsiteX72" fmla="*/ 88568 w 932942"/>
                <a:gd name="connsiteY72" fmla="*/ 133277 h 305729"/>
                <a:gd name="connsiteX73" fmla="*/ 92826 w 932942"/>
                <a:gd name="connsiteY73" fmla="*/ 175006 h 305729"/>
                <a:gd name="connsiteX74" fmla="*/ 92826 w 932942"/>
                <a:gd name="connsiteY74" fmla="*/ 301471 h 305729"/>
                <a:gd name="connsiteX75" fmla="*/ 126039 w 932942"/>
                <a:gd name="connsiteY75" fmla="*/ 301471 h 305729"/>
                <a:gd name="connsiteX76" fmla="*/ 126039 w 932942"/>
                <a:gd name="connsiteY76" fmla="*/ 173729 h 305729"/>
                <a:gd name="connsiteX77" fmla="*/ 150310 w 932942"/>
                <a:gd name="connsiteY77" fmla="*/ 158400 h 305729"/>
                <a:gd name="connsiteX78" fmla="*/ 161381 w 932942"/>
                <a:gd name="connsiteY78" fmla="*/ 162658 h 305729"/>
                <a:gd name="connsiteX79" fmla="*/ 165213 w 932942"/>
                <a:gd name="connsiteY79" fmla="*/ 185226 h 305729"/>
                <a:gd name="connsiteX80" fmla="*/ 165213 w 932942"/>
                <a:gd name="connsiteY80" fmla="*/ 301471 h 305729"/>
                <a:gd name="connsiteX81" fmla="*/ 198426 w 932942"/>
                <a:gd name="connsiteY81" fmla="*/ 301471 h 305729"/>
                <a:gd name="connsiteX82" fmla="*/ 351291 w 932942"/>
                <a:gd name="connsiteY82" fmla="*/ 61316 h 305729"/>
                <a:gd name="connsiteX83" fmla="*/ 329149 w 932942"/>
                <a:gd name="connsiteY83" fmla="*/ 83458 h 305729"/>
                <a:gd name="connsiteX84" fmla="*/ 350865 w 932942"/>
                <a:gd name="connsiteY84" fmla="*/ 105600 h 305729"/>
                <a:gd name="connsiteX85" fmla="*/ 373007 w 932942"/>
                <a:gd name="connsiteY85" fmla="*/ 83458 h 305729"/>
                <a:gd name="connsiteX86" fmla="*/ 351291 w 932942"/>
                <a:gd name="connsiteY86" fmla="*/ 61316 h 305729"/>
                <a:gd name="connsiteX87" fmla="*/ 19587 w 932942"/>
                <a:gd name="connsiteY87" fmla="*/ 301471 h 305729"/>
                <a:gd name="connsiteX88" fmla="*/ 52800 w 932942"/>
                <a:gd name="connsiteY88" fmla="*/ 301471 h 305729"/>
                <a:gd name="connsiteX89" fmla="*/ 52800 w 932942"/>
                <a:gd name="connsiteY89" fmla="*/ 94103 h 305729"/>
                <a:gd name="connsiteX90" fmla="*/ 19587 w 932942"/>
                <a:gd name="connsiteY90" fmla="*/ 98361 h 305729"/>
                <a:gd name="connsiteX91" fmla="*/ 19587 w 932942"/>
                <a:gd name="connsiteY91" fmla="*/ 301471 h 305729"/>
                <a:gd name="connsiteX92" fmla="*/ 290826 w 932942"/>
                <a:gd name="connsiteY92" fmla="*/ 81755 h 305729"/>
                <a:gd name="connsiteX93" fmla="*/ 306581 w 932942"/>
                <a:gd name="connsiteY93" fmla="*/ 86865 h 305729"/>
                <a:gd name="connsiteX94" fmla="*/ 315949 w 932942"/>
                <a:gd name="connsiteY94" fmla="*/ 60890 h 305729"/>
                <a:gd name="connsiteX95" fmla="*/ 284865 w 932942"/>
                <a:gd name="connsiteY95" fmla="*/ 51523 h 305729"/>
                <a:gd name="connsiteX96" fmla="*/ 259316 w 932942"/>
                <a:gd name="connsiteY96" fmla="*/ 60039 h 305729"/>
                <a:gd name="connsiteX97" fmla="*/ 242710 w 932942"/>
                <a:gd name="connsiteY97" fmla="*/ 106026 h 305729"/>
                <a:gd name="connsiteX98" fmla="*/ 243136 w 932942"/>
                <a:gd name="connsiteY98" fmla="*/ 128594 h 305729"/>
                <a:gd name="connsiteX99" fmla="*/ 231639 w 932942"/>
                <a:gd name="connsiteY99" fmla="*/ 128594 h 305729"/>
                <a:gd name="connsiteX100" fmla="*/ 231639 w 932942"/>
                <a:gd name="connsiteY100" fmla="*/ 157974 h 305729"/>
                <a:gd name="connsiteX101" fmla="*/ 243136 w 932942"/>
                <a:gd name="connsiteY101" fmla="*/ 157974 h 305729"/>
                <a:gd name="connsiteX102" fmla="*/ 243136 w 932942"/>
                <a:gd name="connsiteY102" fmla="*/ 301045 h 305729"/>
                <a:gd name="connsiteX103" fmla="*/ 277200 w 932942"/>
                <a:gd name="connsiteY103" fmla="*/ 301045 h 305729"/>
                <a:gd name="connsiteX104" fmla="*/ 277200 w 932942"/>
                <a:gd name="connsiteY104" fmla="*/ 158400 h 305729"/>
                <a:gd name="connsiteX105" fmla="*/ 302323 w 932942"/>
                <a:gd name="connsiteY105" fmla="*/ 158400 h 305729"/>
                <a:gd name="connsiteX106" fmla="*/ 308710 w 932942"/>
                <a:gd name="connsiteY106" fmla="*/ 129019 h 305729"/>
                <a:gd name="connsiteX107" fmla="*/ 277626 w 932942"/>
                <a:gd name="connsiteY107" fmla="*/ 129019 h 305729"/>
                <a:gd name="connsiteX108" fmla="*/ 277626 w 932942"/>
                <a:gd name="connsiteY108" fmla="*/ 102619 h 305729"/>
                <a:gd name="connsiteX109" fmla="*/ 290826 w 932942"/>
                <a:gd name="connsiteY109" fmla="*/ 81755 h 305729"/>
                <a:gd name="connsiteX110" fmla="*/ 334258 w 932942"/>
                <a:gd name="connsiteY110" fmla="*/ 301471 h 305729"/>
                <a:gd name="connsiteX111" fmla="*/ 367897 w 932942"/>
                <a:gd name="connsiteY111" fmla="*/ 301471 h 305729"/>
                <a:gd name="connsiteX112" fmla="*/ 367897 w 932942"/>
                <a:gd name="connsiteY112" fmla="*/ 126039 h 305729"/>
                <a:gd name="connsiteX113" fmla="*/ 334258 w 932942"/>
                <a:gd name="connsiteY113" fmla="*/ 130297 h 305729"/>
                <a:gd name="connsiteX114" fmla="*/ 334258 w 932942"/>
                <a:gd name="connsiteY114" fmla="*/ 301471 h 305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932942" h="305729">
                  <a:moveTo>
                    <a:pt x="740052" y="305729"/>
                  </a:moveTo>
                  <a:cubicBezTo>
                    <a:pt x="785188" y="305729"/>
                    <a:pt x="799239" y="258039"/>
                    <a:pt x="799239" y="214181"/>
                  </a:cubicBezTo>
                  <a:cubicBezTo>
                    <a:pt x="799239" y="155419"/>
                    <a:pt x="774542" y="124761"/>
                    <a:pt x="740052" y="124761"/>
                  </a:cubicBezTo>
                  <a:cubicBezTo>
                    <a:pt x="696620" y="124761"/>
                    <a:pt x="681291" y="172452"/>
                    <a:pt x="681717" y="215032"/>
                  </a:cubicBezTo>
                  <a:cubicBezTo>
                    <a:pt x="682142" y="257187"/>
                    <a:pt x="694065" y="305729"/>
                    <a:pt x="740052" y="305729"/>
                  </a:cubicBezTo>
                  <a:close/>
                  <a:moveTo>
                    <a:pt x="717910" y="213755"/>
                  </a:moveTo>
                  <a:cubicBezTo>
                    <a:pt x="717910" y="196297"/>
                    <a:pt x="717910" y="155419"/>
                    <a:pt x="740052" y="155419"/>
                  </a:cubicBezTo>
                  <a:cubicBezTo>
                    <a:pt x="763897" y="155419"/>
                    <a:pt x="763046" y="195871"/>
                    <a:pt x="763046" y="214606"/>
                  </a:cubicBezTo>
                  <a:cubicBezTo>
                    <a:pt x="763046" y="232490"/>
                    <a:pt x="763046" y="275923"/>
                    <a:pt x="740904" y="275923"/>
                  </a:cubicBezTo>
                  <a:cubicBezTo>
                    <a:pt x="717059" y="275497"/>
                    <a:pt x="717910" y="232065"/>
                    <a:pt x="717910" y="213755"/>
                  </a:cubicBezTo>
                  <a:close/>
                  <a:moveTo>
                    <a:pt x="608904" y="305729"/>
                  </a:moveTo>
                  <a:cubicBezTo>
                    <a:pt x="627213" y="305729"/>
                    <a:pt x="642968" y="298490"/>
                    <a:pt x="657871" y="282735"/>
                  </a:cubicBezTo>
                  <a:lnTo>
                    <a:pt x="644671" y="258039"/>
                  </a:lnTo>
                  <a:cubicBezTo>
                    <a:pt x="634452" y="269110"/>
                    <a:pt x="624233" y="275071"/>
                    <a:pt x="611884" y="275071"/>
                  </a:cubicBezTo>
                  <a:cubicBezTo>
                    <a:pt x="601665" y="275071"/>
                    <a:pt x="593149" y="269110"/>
                    <a:pt x="588039" y="258890"/>
                  </a:cubicBezTo>
                  <a:cubicBezTo>
                    <a:pt x="583781" y="249948"/>
                    <a:pt x="582929" y="239729"/>
                    <a:pt x="582929" y="228658"/>
                  </a:cubicBezTo>
                  <a:lnTo>
                    <a:pt x="582929" y="225252"/>
                  </a:lnTo>
                  <a:lnTo>
                    <a:pt x="659575" y="225252"/>
                  </a:lnTo>
                  <a:lnTo>
                    <a:pt x="659575" y="217587"/>
                  </a:lnTo>
                  <a:cubicBezTo>
                    <a:pt x="659575" y="179690"/>
                    <a:pt x="654891" y="158826"/>
                    <a:pt x="642968" y="143071"/>
                  </a:cubicBezTo>
                  <a:cubicBezTo>
                    <a:pt x="634026" y="131148"/>
                    <a:pt x="620826" y="124761"/>
                    <a:pt x="604645" y="124761"/>
                  </a:cubicBezTo>
                  <a:cubicBezTo>
                    <a:pt x="587613" y="124761"/>
                    <a:pt x="573562" y="132426"/>
                    <a:pt x="563342" y="147329"/>
                  </a:cubicBezTo>
                  <a:cubicBezTo>
                    <a:pt x="552271" y="163510"/>
                    <a:pt x="547587" y="185226"/>
                    <a:pt x="547587" y="215032"/>
                  </a:cubicBezTo>
                  <a:cubicBezTo>
                    <a:pt x="547162" y="272090"/>
                    <a:pt x="569729" y="305729"/>
                    <a:pt x="608904" y="305729"/>
                  </a:cubicBezTo>
                  <a:close/>
                  <a:moveTo>
                    <a:pt x="605071" y="152865"/>
                  </a:moveTo>
                  <a:cubicBezTo>
                    <a:pt x="613587" y="152865"/>
                    <a:pt x="618697" y="157548"/>
                    <a:pt x="622104" y="165213"/>
                  </a:cubicBezTo>
                  <a:cubicBezTo>
                    <a:pt x="624658" y="172026"/>
                    <a:pt x="625936" y="183523"/>
                    <a:pt x="625936" y="197148"/>
                  </a:cubicBezTo>
                  <a:lnTo>
                    <a:pt x="582929" y="197148"/>
                  </a:lnTo>
                  <a:cubicBezTo>
                    <a:pt x="583355" y="166916"/>
                    <a:pt x="589742" y="152865"/>
                    <a:pt x="605071" y="152865"/>
                  </a:cubicBezTo>
                  <a:close/>
                  <a:moveTo>
                    <a:pt x="827342" y="301471"/>
                  </a:moveTo>
                  <a:lnTo>
                    <a:pt x="860555" y="301471"/>
                  </a:lnTo>
                  <a:lnTo>
                    <a:pt x="860555" y="173729"/>
                  </a:lnTo>
                  <a:cubicBezTo>
                    <a:pt x="868646" y="163935"/>
                    <a:pt x="878013" y="158400"/>
                    <a:pt x="884826" y="158400"/>
                  </a:cubicBezTo>
                  <a:cubicBezTo>
                    <a:pt x="889084" y="158400"/>
                    <a:pt x="893342" y="159252"/>
                    <a:pt x="895897" y="162658"/>
                  </a:cubicBezTo>
                  <a:cubicBezTo>
                    <a:pt x="898452" y="166490"/>
                    <a:pt x="899730" y="172026"/>
                    <a:pt x="899730" y="185226"/>
                  </a:cubicBezTo>
                  <a:lnTo>
                    <a:pt x="899730" y="301471"/>
                  </a:lnTo>
                  <a:lnTo>
                    <a:pt x="932942" y="301471"/>
                  </a:lnTo>
                  <a:lnTo>
                    <a:pt x="932942" y="169897"/>
                  </a:lnTo>
                  <a:cubicBezTo>
                    <a:pt x="932942" y="158400"/>
                    <a:pt x="931665" y="146903"/>
                    <a:pt x="924852" y="138387"/>
                  </a:cubicBezTo>
                  <a:cubicBezTo>
                    <a:pt x="918891" y="130723"/>
                    <a:pt x="909523" y="126039"/>
                    <a:pt x="897601" y="126039"/>
                  </a:cubicBezTo>
                  <a:cubicBezTo>
                    <a:pt x="882272" y="126039"/>
                    <a:pt x="866517" y="134981"/>
                    <a:pt x="858000" y="145200"/>
                  </a:cubicBezTo>
                  <a:cubicBezTo>
                    <a:pt x="857575" y="136258"/>
                    <a:pt x="854594" y="127742"/>
                    <a:pt x="853742" y="124761"/>
                  </a:cubicBezTo>
                  <a:lnTo>
                    <a:pt x="822659" y="132852"/>
                  </a:lnTo>
                  <a:cubicBezTo>
                    <a:pt x="824362" y="142219"/>
                    <a:pt x="826917" y="153716"/>
                    <a:pt x="826917" y="174581"/>
                  </a:cubicBezTo>
                  <a:lnTo>
                    <a:pt x="826917" y="301471"/>
                  </a:lnTo>
                  <a:close/>
                  <a:moveTo>
                    <a:pt x="441562" y="145200"/>
                  </a:moveTo>
                  <a:cubicBezTo>
                    <a:pt x="441136" y="136258"/>
                    <a:pt x="438155" y="127742"/>
                    <a:pt x="437304" y="124761"/>
                  </a:cubicBezTo>
                  <a:lnTo>
                    <a:pt x="406220" y="132852"/>
                  </a:lnTo>
                  <a:cubicBezTo>
                    <a:pt x="407923" y="142219"/>
                    <a:pt x="410478" y="153716"/>
                    <a:pt x="410478" y="174581"/>
                  </a:cubicBezTo>
                  <a:lnTo>
                    <a:pt x="410478" y="301045"/>
                  </a:lnTo>
                  <a:lnTo>
                    <a:pt x="443691" y="301045"/>
                  </a:lnTo>
                  <a:lnTo>
                    <a:pt x="443691" y="173303"/>
                  </a:lnTo>
                  <a:cubicBezTo>
                    <a:pt x="451781" y="163510"/>
                    <a:pt x="461149" y="157974"/>
                    <a:pt x="467962" y="157974"/>
                  </a:cubicBezTo>
                  <a:cubicBezTo>
                    <a:pt x="472220" y="157974"/>
                    <a:pt x="476478" y="158826"/>
                    <a:pt x="479033" y="162232"/>
                  </a:cubicBezTo>
                  <a:cubicBezTo>
                    <a:pt x="481587" y="166065"/>
                    <a:pt x="482865" y="171600"/>
                    <a:pt x="482865" y="184800"/>
                  </a:cubicBezTo>
                  <a:lnTo>
                    <a:pt x="482865" y="301045"/>
                  </a:lnTo>
                  <a:lnTo>
                    <a:pt x="516078" y="301045"/>
                  </a:lnTo>
                  <a:lnTo>
                    <a:pt x="516078" y="169897"/>
                  </a:lnTo>
                  <a:cubicBezTo>
                    <a:pt x="516078" y="158400"/>
                    <a:pt x="514800" y="146903"/>
                    <a:pt x="507987" y="138387"/>
                  </a:cubicBezTo>
                  <a:cubicBezTo>
                    <a:pt x="502026" y="130723"/>
                    <a:pt x="492658" y="126039"/>
                    <a:pt x="480736" y="126039"/>
                  </a:cubicBezTo>
                  <a:cubicBezTo>
                    <a:pt x="465833" y="126039"/>
                    <a:pt x="450078" y="134981"/>
                    <a:pt x="441562" y="145200"/>
                  </a:cubicBezTo>
                  <a:close/>
                  <a:moveTo>
                    <a:pt x="35342" y="70684"/>
                  </a:moveTo>
                  <a:cubicBezTo>
                    <a:pt x="54929" y="70684"/>
                    <a:pt x="70684" y="54929"/>
                    <a:pt x="70684" y="35342"/>
                  </a:cubicBezTo>
                  <a:cubicBezTo>
                    <a:pt x="70684" y="15755"/>
                    <a:pt x="54929" y="0"/>
                    <a:pt x="35342" y="0"/>
                  </a:cubicBezTo>
                  <a:cubicBezTo>
                    <a:pt x="15755" y="0"/>
                    <a:pt x="0" y="15755"/>
                    <a:pt x="0" y="35342"/>
                  </a:cubicBezTo>
                  <a:cubicBezTo>
                    <a:pt x="0" y="54929"/>
                    <a:pt x="15755" y="70684"/>
                    <a:pt x="35342" y="70684"/>
                  </a:cubicBezTo>
                  <a:close/>
                  <a:moveTo>
                    <a:pt x="198426" y="301471"/>
                  </a:moveTo>
                  <a:lnTo>
                    <a:pt x="198426" y="169897"/>
                  </a:lnTo>
                  <a:cubicBezTo>
                    <a:pt x="198426" y="158400"/>
                    <a:pt x="197148" y="146903"/>
                    <a:pt x="190336" y="138387"/>
                  </a:cubicBezTo>
                  <a:cubicBezTo>
                    <a:pt x="184374" y="130723"/>
                    <a:pt x="175007" y="126039"/>
                    <a:pt x="163084" y="126039"/>
                  </a:cubicBezTo>
                  <a:cubicBezTo>
                    <a:pt x="147755" y="126039"/>
                    <a:pt x="132000" y="134981"/>
                    <a:pt x="123484" y="145200"/>
                  </a:cubicBezTo>
                  <a:cubicBezTo>
                    <a:pt x="123058" y="136258"/>
                    <a:pt x="120077" y="127742"/>
                    <a:pt x="119226" y="124761"/>
                  </a:cubicBezTo>
                  <a:lnTo>
                    <a:pt x="88568" y="133277"/>
                  </a:lnTo>
                  <a:cubicBezTo>
                    <a:pt x="90271" y="142645"/>
                    <a:pt x="92826" y="154142"/>
                    <a:pt x="92826" y="175006"/>
                  </a:cubicBezTo>
                  <a:lnTo>
                    <a:pt x="92826" y="301471"/>
                  </a:lnTo>
                  <a:lnTo>
                    <a:pt x="126039" y="301471"/>
                  </a:lnTo>
                  <a:lnTo>
                    <a:pt x="126039" y="173729"/>
                  </a:lnTo>
                  <a:cubicBezTo>
                    <a:pt x="134129" y="163935"/>
                    <a:pt x="143497" y="158400"/>
                    <a:pt x="150310" y="158400"/>
                  </a:cubicBezTo>
                  <a:cubicBezTo>
                    <a:pt x="154568" y="158400"/>
                    <a:pt x="158826" y="159252"/>
                    <a:pt x="161381" y="162658"/>
                  </a:cubicBezTo>
                  <a:cubicBezTo>
                    <a:pt x="163936" y="166490"/>
                    <a:pt x="165213" y="172026"/>
                    <a:pt x="165213" y="185226"/>
                  </a:cubicBezTo>
                  <a:lnTo>
                    <a:pt x="165213" y="301471"/>
                  </a:lnTo>
                  <a:lnTo>
                    <a:pt x="198426" y="301471"/>
                  </a:lnTo>
                  <a:close/>
                  <a:moveTo>
                    <a:pt x="351291" y="61316"/>
                  </a:moveTo>
                  <a:cubicBezTo>
                    <a:pt x="338942" y="61316"/>
                    <a:pt x="329149" y="71110"/>
                    <a:pt x="329149" y="83458"/>
                  </a:cubicBezTo>
                  <a:cubicBezTo>
                    <a:pt x="329149" y="95806"/>
                    <a:pt x="338942" y="105600"/>
                    <a:pt x="350865" y="105600"/>
                  </a:cubicBezTo>
                  <a:cubicBezTo>
                    <a:pt x="363213" y="105600"/>
                    <a:pt x="373007" y="95806"/>
                    <a:pt x="373007" y="83458"/>
                  </a:cubicBezTo>
                  <a:cubicBezTo>
                    <a:pt x="373007" y="71110"/>
                    <a:pt x="363213" y="61316"/>
                    <a:pt x="351291" y="61316"/>
                  </a:cubicBezTo>
                  <a:close/>
                  <a:moveTo>
                    <a:pt x="19587" y="301471"/>
                  </a:moveTo>
                  <a:lnTo>
                    <a:pt x="52800" y="301471"/>
                  </a:lnTo>
                  <a:lnTo>
                    <a:pt x="52800" y="94103"/>
                  </a:lnTo>
                  <a:lnTo>
                    <a:pt x="19587" y="98361"/>
                  </a:lnTo>
                  <a:lnTo>
                    <a:pt x="19587" y="301471"/>
                  </a:lnTo>
                  <a:close/>
                  <a:moveTo>
                    <a:pt x="290826" y="81755"/>
                  </a:moveTo>
                  <a:cubicBezTo>
                    <a:pt x="296787" y="81755"/>
                    <a:pt x="302749" y="83884"/>
                    <a:pt x="306581" y="86865"/>
                  </a:cubicBezTo>
                  <a:lnTo>
                    <a:pt x="315949" y="60890"/>
                  </a:lnTo>
                  <a:cubicBezTo>
                    <a:pt x="307007" y="54503"/>
                    <a:pt x="297213" y="51523"/>
                    <a:pt x="284865" y="51523"/>
                  </a:cubicBezTo>
                  <a:cubicBezTo>
                    <a:pt x="276349" y="51523"/>
                    <a:pt x="267407" y="53652"/>
                    <a:pt x="259316" y="60039"/>
                  </a:cubicBezTo>
                  <a:cubicBezTo>
                    <a:pt x="251226" y="66852"/>
                    <a:pt x="242710" y="80477"/>
                    <a:pt x="242710" y="106026"/>
                  </a:cubicBezTo>
                  <a:cubicBezTo>
                    <a:pt x="242710" y="117097"/>
                    <a:pt x="243136" y="128594"/>
                    <a:pt x="243136" y="128594"/>
                  </a:cubicBezTo>
                  <a:lnTo>
                    <a:pt x="231639" y="128594"/>
                  </a:lnTo>
                  <a:lnTo>
                    <a:pt x="231639" y="157974"/>
                  </a:lnTo>
                  <a:lnTo>
                    <a:pt x="243136" y="157974"/>
                  </a:lnTo>
                  <a:lnTo>
                    <a:pt x="243136" y="301045"/>
                  </a:lnTo>
                  <a:lnTo>
                    <a:pt x="277200" y="301045"/>
                  </a:lnTo>
                  <a:lnTo>
                    <a:pt x="277200" y="158400"/>
                  </a:lnTo>
                  <a:lnTo>
                    <a:pt x="302323" y="158400"/>
                  </a:lnTo>
                  <a:lnTo>
                    <a:pt x="308710" y="129019"/>
                  </a:lnTo>
                  <a:lnTo>
                    <a:pt x="277626" y="129019"/>
                  </a:lnTo>
                  <a:lnTo>
                    <a:pt x="277626" y="102619"/>
                  </a:lnTo>
                  <a:cubicBezTo>
                    <a:pt x="277626" y="89845"/>
                    <a:pt x="282736" y="81755"/>
                    <a:pt x="290826" y="81755"/>
                  </a:cubicBezTo>
                  <a:close/>
                  <a:moveTo>
                    <a:pt x="334258" y="301471"/>
                  </a:moveTo>
                  <a:lnTo>
                    <a:pt x="367897" y="301471"/>
                  </a:lnTo>
                  <a:lnTo>
                    <a:pt x="367897" y="126039"/>
                  </a:lnTo>
                  <a:lnTo>
                    <a:pt x="334258" y="130297"/>
                  </a:lnTo>
                  <a:lnTo>
                    <a:pt x="334258" y="301471"/>
                  </a:lnTo>
                  <a:close/>
                </a:path>
              </a:pathLst>
            </a:custGeom>
            <a:solidFill>
              <a:srgbClr val="005DA9"/>
            </a:solidFill>
            <a:ln w="4226" cap="flat">
              <a:noFill/>
              <a:prstDash val="solid"/>
              <a:miter/>
            </a:ln>
          </p:spPr>
          <p:txBody>
            <a:bodyPr rtlCol="0" anchor="ctr"/>
            <a:lstStyle/>
            <a:p>
              <a:endParaRPr lang="en-US" sz="1800" noProof="0" dirty="0">
                <a:latin typeface="+mn-lt"/>
                <a:ea typeface="+mn-ea"/>
                <a:cs typeface="+mn-cs"/>
              </a:endParaRPr>
            </a:p>
          </p:txBody>
        </p:sp>
        <p:sp>
          <p:nvSpPr>
            <p:cNvPr id="11" name="Freeform: Shape 10">
              <a:extLst>
                <a:ext uri="{FF2B5EF4-FFF2-40B4-BE49-F238E27FC236}">
                  <a16:creationId xmlns:a16="http://schemas.microsoft.com/office/drawing/2014/main" id="{AB3DFC8B-687C-41DA-A4C3-866145B61F3A}"/>
                </a:ext>
              </a:extLst>
            </p:cNvPr>
            <p:cNvSpPr/>
            <p:nvPr/>
          </p:nvSpPr>
          <p:spPr>
            <a:xfrm>
              <a:off x="10659752" y="193689"/>
              <a:ext cx="1206736" cy="528057"/>
            </a:xfrm>
            <a:custGeom>
              <a:avLst/>
              <a:gdLst>
                <a:gd name="connsiteX0" fmla="*/ 1024065 w 1206736"/>
                <a:gd name="connsiteY0" fmla="*/ 444872 h 528057"/>
                <a:gd name="connsiteX1" fmla="*/ 641265 w 1206736"/>
                <a:gd name="connsiteY1" fmla="*/ 492562 h 528057"/>
                <a:gd name="connsiteX2" fmla="*/ 67703 w 1206736"/>
                <a:gd name="connsiteY2" fmla="*/ 261349 h 528057"/>
                <a:gd name="connsiteX3" fmla="*/ 165639 w 1206736"/>
                <a:gd name="connsiteY3" fmla="*/ 122962 h 528057"/>
                <a:gd name="connsiteX4" fmla="*/ 146478 w 1206736"/>
                <a:gd name="connsiteY4" fmla="*/ 85491 h 528057"/>
                <a:gd name="connsiteX5" fmla="*/ 0 w 1206736"/>
                <a:gd name="connsiteY5" fmla="*/ 265181 h 528057"/>
                <a:gd name="connsiteX6" fmla="*/ 644671 w 1206736"/>
                <a:gd name="connsiteY6" fmla="*/ 527904 h 528057"/>
                <a:gd name="connsiteX7" fmla="*/ 992130 w 1206736"/>
                <a:gd name="connsiteY7" fmla="*/ 473826 h 528057"/>
                <a:gd name="connsiteX8" fmla="*/ 1206736 w 1206736"/>
                <a:gd name="connsiteY8" fmla="*/ 353749 h 528057"/>
                <a:gd name="connsiteX9" fmla="*/ 1024065 w 1206736"/>
                <a:gd name="connsiteY9" fmla="*/ 444872 h 528057"/>
                <a:gd name="connsiteX10" fmla="*/ 309136 w 1206736"/>
                <a:gd name="connsiteY10" fmla="*/ 58239 h 528057"/>
                <a:gd name="connsiteX11" fmla="*/ 363639 w 1206736"/>
                <a:gd name="connsiteY11" fmla="*/ 40781 h 528057"/>
                <a:gd name="connsiteX12" fmla="*/ 645097 w 1206736"/>
                <a:gd name="connsiteY12" fmla="*/ 2459 h 528057"/>
                <a:gd name="connsiteX13" fmla="*/ 356826 w 1206736"/>
                <a:gd name="connsiteY13" fmla="*/ 17788 h 528057"/>
                <a:gd name="connsiteX14" fmla="*/ 298490 w 1206736"/>
                <a:gd name="connsiteY14" fmla="*/ 30136 h 528057"/>
                <a:gd name="connsiteX15" fmla="*/ 275071 w 1206736"/>
                <a:gd name="connsiteY15" fmla="*/ 36523 h 528057"/>
                <a:gd name="connsiteX16" fmla="*/ 253781 w 1206736"/>
                <a:gd name="connsiteY16" fmla="*/ 42484 h 528057"/>
                <a:gd name="connsiteX17" fmla="*/ 228232 w 1206736"/>
                <a:gd name="connsiteY17" fmla="*/ 51001 h 528057"/>
                <a:gd name="connsiteX18" fmla="*/ 242284 w 1206736"/>
                <a:gd name="connsiteY18" fmla="*/ 83362 h 528057"/>
                <a:gd name="connsiteX19" fmla="*/ 309136 w 1206736"/>
                <a:gd name="connsiteY19" fmla="*/ 58239 h 528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06736" h="528057">
                  <a:moveTo>
                    <a:pt x="1024065" y="444872"/>
                  </a:moveTo>
                  <a:cubicBezTo>
                    <a:pt x="911652" y="478085"/>
                    <a:pt x="774968" y="492562"/>
                    <a:pt x="641265" y="492562"/>
                  </a:cubicBezTo>
                  <a:cubicBezTo>
                    <a:pt x="301897" y="492562"/>
                    <a:pt x="83032" y="392923"/>
                    <a:pt x="67703" y="261349"/>
                  </a:cubicBezTo>
                  <a:cubicBezTo>
                    <a:pt x="62168" y="211955"/>
                    <a:pt x="100916" y="163839"/>
                    <a:pt x="165639" y="122962"/>
                  </a:cubicBezTo>
                  <a:cubicBezTo>
                    <a:pt x="154142" y="114446"/>
                    <a:pt x="146903" y="100820"/>
                    <a:pt x="146478" y="85491"/>
                  </a:cubicBezTo>
                  <a:cubicBezTo>
                    <a:pt x="52800" y="134885"/>
                    <a:pt x="0" y="199607"/>
                    <a:pt x="0" y="265181"/>
                  </a:cubicBezTo>
                  <a:cubicBezTo>
                    <a:pt x="0" y="410381"/>
                    <a:pt x="259316" y="533014"/>
                    <a:pt x="644671" y="527904"/>
                  </a:cubicBezTo>
                  <a:cubicBezTo>
                    <a:pt x="778800" y="526201"/>
                    <a:pt x="890788" y="507039"/>
                    <a:pt x="992130" y="473826"/>
                  </a:cubicBezTo>
                  <a:cubicBezTo>
                    <a:pt x="1112633" y="434652"/>
                    <a:pt x="1188427" y="378446"/>
                    <a:pt x="1206736" y="353749"/>
                  </a:cubicBezTo>
                  <a:cubicBezTo>
                    <a:pt x="1185020" y="373336"/>
                    <a:pt x="1133498" y="412510"/>
                    <a:pt x="1024065" y="444872"/>
                  </a:cubicBezTo>
                  <a:close/>
                  <a:moveTo>
                    <a:pt x="309136" y="58239"/>
                  </a:moveTo>
                  <a:cubicBezTo>
                    <a:pt x="331703" y="50575"/>
                    <a:pt x="363639" y="40781"/>
                    <a:pt x="363639" y="40781"/>
                  </a:cubicBezTo>
                  <a:cubicBezTo>
                    <a:pt x="453484" y="16084"/>
                    <a:pt x="552697" y="1607"/>
                    <a:pt x="645097" y="2459"/>
                  </a:cubicBezTo>
                  <a:cubicBezTo>
                    <a:pt x="538645" y="-3928"/>
                    <a:pt x="441562" y="2459"/>
                    <a:pt x="356826" y="17788"/>
                  </a:cubicBezTo>
                  <a:cubicBezTo>
                    <a:pt x="356826" y="17788"/>
                    <a:pt x="328723" y="22472"/>
                    <a:pt x="298490" y="30136"/>
                  </a:cubicBezTo>
                  <a:cubicBezTo>
                    <a:pt x="298490" y="30136"/>
                    <a:pt x="284013" y="33968"/>
                    <a:pt x="275071" y="36523"/>
                  </a:cubicBezTo>
                  <a:cubicBezTo>
                    <a:pt x="266129" y="39078"/>
                    <a:pt x="253781" y="42484"/>
                    <a:pt x="253781" y="42484"/>
                  </a:cubicBezTo>
                  <a:cubicBezTo>
                    <a:pt x="245265" y="45039"/>
                    <a:pt x="236749" y="48020"/>
                    <a:pt x="228232" y="51001"/>
                  </a:cubicBezTo>
                  <a:cubicBezTo>
                    <a:pt x="236749" y="59517"/>
                    <a:pt x="241858" y="70588"/>
                    <a:pt x="242284" y="83362"/>
                  </a:cubicBezTo>
                  <a:cubicBezTo>
                    <a:pt x="257187" y="76549"/>
                    <a:pt x="285716" y="66330"/>
                    <a:pt x="309136" y="58239"/>
                  </a:cubicBezTo>
                  <a:close/>
                </a:path>
              </a:pathLst>
            </a:custGeom>
            <a:solidFill>
              <a:srgbClr val="E30034"/>
            </a:solidFill>
            <a:ln w="4226" cap="flat">
              <a:noFill/>
              <a:prstDash val="solid"/>
              <a:miter/>
            </a:ln>
          </p:spPr>
          <p:txBody>
            <a:bodyPr rtlCol="0" anchor="ctr"/>
            <a:lstStyle/>
            <a:p>
              <a:endParaRPr lang="en-US" sz="1800" noProof="0" dirty="0">
                <a:latin typeface="+mn-lt"/>
                <a:ea typeface="+mn-ea"/>
                <a:cs typeface="+mn-cs"/>
              </a:endParaRPr>
            </a:p>
          </p:txBody>
        </p:sp>
      </p:grpSp>
      <p:sp>
        <p:nvSpPr>
          <p:cNvPr id="3" name="empower - DO NOT DELETE!!!" hidden="1"/>
          <p:cNvSpPr/>
          <p:nvPr>
            <p:custDataLst>
              <p:tags r:id="rId28"/>
            </p:custDataLst>
          </p:nvPr>
        </p:nvSpPr>
        <p:spPr bwMode="auto">
          <a:xfrm>
            <a:off x="0" y="0"/>
            <a:ext cx="0" cy="0"/>
          </a:xfrm>
          <a:prstGeom prst="ellipse">
            <a:avLst/>
          </a:prstGeom>
          <a:solidFill>
            <a:schemeClr val="accent4"/>
          </a:solidFill>
          <a:ln w="9525">
            <a:noFill/>
            <a:miter lim="800000"/>
            <a:headEnd/>
            <a:tailEnd/>
          </a:ln>
        </p:spPr>
        <p:txBody>
          <a:bodyPr wrap="square" lIns="54000" tIns="54000" rIns="54000" bIns="54000" rtlCol="0" anchor="ctr"/>
          <a:lstStyle/>
          <a:p>
            <a:pPr lvl="0" algn="ctr" eaLnBrk="0" hangingPunct="0"/>
            <a:endParaRPr lang="en-US" sz="1200" baseline="0" noProof="0" dirty="0">
              <a:latin typeface="+mn-lt"/>
              <a:ea typeface="+mn-ea"/>
              <a:cs typeface="+mn-cs"/>
            </a:endParaRPr>
          </a:p>
        </p:txBody>
      </p:sp>
      <p:sp>
        <p:nvSpPr>
          <p:cNvPr id="4" name="Fixed Page Placeholder">
            <a:extLst>
              <a:ext uri="{FF2B5EF4-FFF2-40B4-BE49-F238E27FC236}">
                <a16:creationId xmlns:a16="http://schemas.microsoft.com/office/drawing/2014/main" id="{E361B9A9-2219-4F44-982D-701D7F2A6185}"/>
              </a:ext>
            </a:extLst>
          </p:cNvPr>
          <p:cNvSpPr txBox="1"/>
          <p:nvPr/>
        </p:nvSpPr>
        <p:spPr bwMode="auto">
          <a:xfrm>
            <a:off x="8315516" y="4867006"/>
            <a:ext cx="288036" cy="271095"/>
          </a:xfrm>
          <a:prstGeom prst="rect">
            <a:avLst/>
          </a:prstGeom>
          <a:noFill/>
          <a:ln w="9525">
            <a:noFill/>
            <a:miter lim="800000"/>
            <a:headEnd/>
            <a:tailEnd/>
          </a:ln>
          <a:effectLst/>
        </p:spPr>
        <p:txBody>
          <a:bodyPr wrap="square" lIns="0" tIns="0" rIns="0" bIns="0" rtlCol="0" anchor="ctr" anchorCtr="0">
            <a:noAutofit/>
          </a:bodyPr>
          <a:lstStyle/>
          <a:p>
            <a:pPr marL="0" marR="0" indent="0" algn="r" defTabSz="432000" eaLnBrk="0" fontAlgn="auto" latinLnBrk="0" hangingPunct="0">
              <a:spcBef>
                <a:spcPts val="0"/>
              </a:spcBef>
              <a:spcAft>
                <a:spcPts val="0"/>
              </a:spcAft>
              <a:buClr>
                <a:schemeClr val="accent1"/>
              </a:buClr>
              <a:buSzTx/>
              <a:buFontTx/>
              <a:buNone/>
              <a:tabLst/>
            </a:pPr>
            <a:fld id="{AE05A9AF-4D70-4052-9354-7E4D957B036D}" type="slidenum">
              <a:rPr lang="de-DE" sz="900" kern="0" baseline="0">
                <a:solidFill>
                  <a:schemeClr val="bg1"/>
                </a:solidFill>
                <a:latin typeface="+mn-lt"/>
                <a:ea typeface="+mn-ea"/>
                <a:cs typeface="+mn-cs"/>
              </a:rPr>
              <a:pPr marL="0" marR="0" indent="0" algn="r" defTabSz="432000" eaLnBrk="0" fontAlgn="auto" latinLnBrk="0" hangingPunct="0">
                <a:spcBef>
                  <a:spcPts val="0"/>
                </a:spcBef>
                <a:spcAft>
                  <a:spcPts val="0"/>
                </a:spcAft>
                <a:buClr>
                  <a:schemeClr val="accent1"/>
                </a:buClr>
                <a:buSzTx/>
                <a:buFontTx/>
                <a:buNone/>
                <a:tabLst/>
              </a:pPr>
              <a:t>‹#›</a:t>
            </a:fld>
            <a:endParaRPr lang="de-DE" sz="900" kern="0" baseline="0" dirty="0">
              <a:solidFill>
                <a:schemeClr val="bg1"/>
              </a:solidFill>
              <a:latin typeface="+mn-lt"/>
              <a:ea typeface="+mn-ea"/>
              <a:cs typeface="+mn-cs"/>
            </a:endParaRPr>
          </a:p>
        </p:txBody>
      </p:sp>
      <p:pic>
        <p:nvPicPr>
          <p:cNvPr id="17" name="Grafik 9">
            <a:extLst>
              <a:ext uri="{FF2B5EF4-FFF2-40B4-BE49-F238E27FC236}">
                <a16:creationId xmlns:a16="http://schemas.microsoft.com/office/drawing/2014/main" id="{0438B05C-2F61-44FC-99A8-F4F8A43F3D13}"/>
              </a:ext>
            </a:extLst>
          </p:cNvPr>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a:xfrm>
            <a:off x="0" y="4872228"/>
            <a:ext cx="9144000" cy="271272"/>
          </a:xfrm>
          <a:prstGeom prst="rect">
            <a:avLst/>
          </a:prstGeom>
        </p:spPr>
      </p:pic>
      <p:pic>
        <p:nvPicPr>
          <p:cNvPr id="21" name="Grafik 10">
            <a:extLst>
              <a:ext uri="{FF2B5EF4-FFF2-40B4-BE49-F238E27FC236}">
                <a16:creationId xmlns:a16="http://schemas.microsoft.com/office/drawing/2014/main" id="{B22B9C1E-A170-4EFB-9024-85D4BF7D1FF1}"/>
              </a:ext>
            </a:extLst>
          </p:cNvPr>
          <p:cNvPicPr>
            <a:picLocks noChangeAspect="1"/>
          </p:cNvPicPr>
          <p:nvPr userDrawn="1"/>
        </p:nvPicPr>
        <p:blipFill>
          <a:blip r:embed="rId30" cstate="print">
            <a:extLst>
              <a:ext uri="{28A0092B-C50C-407E-A947-70E740481C1C}">
                <a14:useLocalDpi xmlns:a14="http://schemas.microsoft.com/office/drawing/2010/main" val="0"/>
              </a:ext>
            </a:extLst>
          </a:blip>
          <a:stretch>
            <a:fillRect/>
          </a:stretch>
        </p:blipFill>
        <p:spPr>
          <a:xfrm>
            <a:off x="0" y="1836"/>
            <a:ext cx="9144000" cy="679704"/>
          </a:xfrm>
          <a:prstGeom prst="rect">
            <a:avLst/>
          </a:prstGeom>
        </p:spPr>
      </p:pic>
    </p:spTree>
    <p:extLst>
      <p:ext uri="{BB962C8B-B14F-4D97-AF65-F5344CB8AC3E}">
        <p14:creationId xmlns:p14="http://schemas.microsoft.com/office/powerpoint/2010/main" val="474913632"/>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 id="2147483834" r:id="rId6"/>
    <p:sldLayoutId id="2147483835" r:id="rId7"/>
    <p:sldLayoutId id="2147483836" r:id="rId8"/>
    <p:sldLayoutId id="2147483837" r:id="rId9"/>
    <p:sldLayoutId id="2147483838" r:id="rId10"/>
    <p:sldLayoutId id="2147483839" r:id="rId11"/>
    <p:sldLayoutId id="2147483840" r:id="rId12"/>
    <p:sldLayoutId id="2147483841" r:id="rId13"/>
    <p:sldLayoutId id="2147483842" r:id="rId14"/>
    <p:sldLayoutId id="2147483843" r:id="rId15"/>
    <p:sldLayoutId id="2147483844" r:id="rId16"/>
    <p:sldLayoutId id="2147483845" r:id="rId17"/>
    <p:sldLayoutId id="2147483846" r:id="rId18"/>
    <p:sldLayoutId id="2147483847" r:id="rId19"/>
  </p:sldLayoutIdLst>
  <p:txStyles>
    <p:titleStyle>
      <a:lvl1pPr algn="l" defTabSz="432000" rtl="0" eaLnBrk="1" fontAlgn="base" hangingPunct="1">
        <a:spcBef>
          <a:spcPct val="0"/>
        </a:spcBef>
        <a:spcAft>
          <a:spcPct val="0"/>
        </a:spcAft>
        <a:buClr>
          <a:schemeClr val="tx1"/>
        </a:buClr>
        <a:buFontTx/>
        <a:buNone/>
        <a:defRPr sz="1800" b="0" baseline="0">
          <a:solidFill>
            <a:schemeClr val="tx1"/>
          </a:solidFill>
          <a:latin typeface="+mj-lt"/>
          <a:ea typeface="+mj-ea"/>
          <a:cs typeface="+mj-cs"/>
        </a:defRPr>
      </a:lvl1pPr>
      <a:lvl2pPr algn="l" rtl="0" eaLnBrk="1" fontAlgn="base" hangingPunct="1">
        <a:spcBef>
          <a:spcPct val="0"/>
        </a:spcBef>
        <a:spcAft>
          <a:spcPct val="0"/>
        </a:spcAft>
        <a:defRPr sz="2600" b="1">
          <a:solidFill>
            <a:schemeClr val="tx2"/>
          </a:solidFill>
          <a:latin typeface="Arial" charset="0"/>
        </a:defRPr>
      </a:lvl2pPr>
      <a:lvl3pPr algn="l" rtl="0" eaLnBrk="1" fontAlgn="base" hangingPunct="1">
        <a:spcBef>
          <a:spcPct val="0"/>
        </a:spcBef>
        <a:spcAft>
          <a:spcPct val="0"/>
        </a:spcAft>
        <a:defRPr sz="2600" b="1">
          <a:solidFill>
            <a:schemeClr val="tx2"/>
          </a:solidFill>
          <a:latin typeface="Arial" charset="0"/>
        </a:defRPr>
      </a:lvl3pPr>
      <a:lvl4pPr algn="l" rtl="0" eaLnBrk="1" fontAlgn="base" hangingPunct="1">
        <a:spcBef>
          <a:spcPct val="0"/>
        </a:spcBef>
        <a:spcAft>
          <a:spcPct val="0"/>
        </a:spcAft>
        <a:defRPr sz="2600" b="1">
          <a:solidFill>
            <a:schemeClr val="tx2"/>
          </a:solidFill>
          <a:latin typeface="Arial" charset="0"/>
        </a:defRPr>
      </a:lvl4pPr>
      <a:lvl5pPr algn="l" rtl="0" eaLnBrk="1" fontAlgn="base" hangingPunct="1">
        <a:spcBef>
          <a:spcPct val="0"/>
        </a:spcBef>
        <a:spcAft>
          <a:spcPct val="0"/>
        </a:spcAft>
        <a:defRPr sz="2600" b="1">
          <a:solidFill>
            <a:schemeClr val="tx2"/>
          </a:solidFill>
          <a:latin typeface="Arial" charset="0"/>
        </a:defRPr>
      </a:lvl5pPr>
      <a:lvl6pPr marL="457189" algn="l" rtl="0" eaLnBrk="1" fontAlgn="base" hangingPunct="1">
        <a:spcBef>
          <a:spcPct val="0"/>
        </a:spcBef>
        <a:spcAft>
          <a:spcPct val="0"/>
        </a:spcAft>
        <a:defRPr sz="2600" b="1">
          <a:solidFill>
            <a:schemeClr val="tx2"/>
          </a:solidFill>
          <a:latin typeface="Arial" charset="0"/>
        </a:defRPr>
      </a:lvl6pPr>
      <a:lvl7pPr marL="914378" algn="l" rtl="0" eaLnBrk="1" fontAlgn="base" hangingPunct="1">
        <a:spcBef>
          <a:spcPct val="0"/>
        </a:spcBef>
        <a:spcAft>
          <a:spcPct val="0"/>
        </a:spcAft>
        <a:defRPr sz="2600" b="1">
          <a:solidFill>
            <a:schemeClr val="tx2"/>
          </a:solidFill>
          <a:latin typeface="Arial" charset="0"/>
        </a:defRPr>
      </a:lvl7pPr>
      <a:lvl8pPr marL="1371566" algn="l" rtl="0" eaLnBrk="1" fontAlgn="base" hangingPunct="1">
        <a:spcBef>
          <a:spcPct val="0"/>
        </a:spcBef>
        <a:spcAft>
          <a:spcPct val="0"/>
        </a:spcAft>
        <a:defRPr sz="2600" b="1">
          <a:solidFill>
            <a:schemeClr val="tx2"/>
          </a:solidFill>
          <a:latin typeface="Arial" charset="0"/>
        </a:defRPr>
      </a:lvl8pPr>
      <a:lvl9pPr marL="1828754" algn="l" rtl="0" eaLnBrk="1" fontAlgn="base" hangingPunct="1">
        <a:spcBef>
          <a:spcPct val="0"/>
        </a:spcBef>
        <a:spcAft>
          <a:spcPct val="0"/>
        </a:spcAft>
        <a:defRPr sz="2600" b="1">
          <a:solidFill>
            <a:schemeClr val="tx2"/>
          </a:solidFill>
          <a:latin typeface="Arial" charset="0"/>
        </a:defRPr>
      </a:lvl9pPr>
    </p:titleStyle>
    <p:bodyStyle>
      <a:lvl1pPr marL="135000" indent="-135000" algn="l" defTabSz="432000" rtl="0" eaLnBrk="1" fontAlgn="base" hangingPunct="1">
        <a:spcBef>
          <a:spcPts val="0"/>
        </a:spcBef>
        <a:spcAft>
          <a:spcPts val="0"/>
        </a:spcAft>
        <a:buClr>
          <a:schemeClr val="accent1"/>
        </a:buClr>
        <a:buSzPct val="100000"/>
        <a:buFont typeface="Arial" panose="020B0604020202020204" pitchFamily="34" charset="0"/>
        <a:buChar char="›"/>
        <a:defRPr sz="1500" baseline="0">
          <a:solidFill>
            <a:schemeClr val="tx1"/>
          </a:solidFill>
          <a:latin typeface="+mn-lt"/>
          <a:ea typeface="+mn-ea"/>
          <a:cs typeface="+mn-cs"/>
        </a:defRPr>
      </a:lvl1pPr>
      <a:lvl2pPr marL="337500" indent="-202500" algn="l" defTabSz="432000" rtl="0" eaLnBrk="1" fontAlgn="base" hangingPunct="1">
        <a:spcBef>
          <a:spcPts val="0"/>
        </a:spcBef>
        <a:spcAft>
          <a:spcPts val="0"/>
        </a:spcAft>
        <a:buClr>
          <a:schemeClr val="accent1"/>
        </a:buClr>
        <a:buSzPct val="100000"/>
        <a:buFont typeface="Verdana" panose="020B0604030504040204" pitchFamily="34" charset="0"/>
        <a:buChar char="–"/>
        <a:defRPr sz="1500">
          <a:solidFill>
            <a:schemeClr val="tx1"/>
          </a:solidFill>
          <a:latin typeface="+mn-lt"/>
          <a:cs typeface="+mn-cs"/>
        </a:defRPr>
      </a:lvl2pPr>
      <a:lvl3pPr marL="472500" indent="-135000" algn="l" defTabSz="432000" rtl="0" eaLnBrk="1" fontAlgn="base" hangingPunct="1">
        <a:spcBef>
          <a:spcPts val="0"/>
        </a:spcBef>
        <a:spcAft>
          <a:spcPts val="0"/>
        </a:spcAft>
        <a:buClr>
          <a:schemeClr val="accent1"/>
        </a:buClr>
        <a:buSzPct val="100000"/>
        <a:buFont typeface="Arial" panose="020B0604020202020204" pitchFamily="34" charset="0"/>
        <a:buChar char="–"/>
        <a:defRPr sz="1350" baseline="0">
          <a:solidFill>
            <a:schemeClr val="tx1"/>
          </a:solidFill>
          <a:latin typeface="+mn-lt"/>
          <a:cs typeface="+mn-cs"/>
        </a:defRPr>
      </a:lvl3pPr>
      <a:lvl4pPr marL="602100" indent="-129600" algn="l" defTabSz="432000" rtl="0" eaLnBrk="1" fontAlgn="base" hangingPunct="1">
        <a:spcBef>
          <a:spcPts val="0"/>
        </a:spcBef>
        <a:spcAft>
          <a:spcPts val="0"/>
        </a:spcAft>
        <a:buClr>
          <a:schemeClr val="accent1"/>
        </a:buClr>
        <a:buSzPct val="100000"/>
        <a:buFont typeface="Arial" panose="020B0604020202020204" pitchFamily="34" charset="0"/>
        <a:buChar char="–"/>
        <a:defRPr sz="1200" baseline="0">
          <a:solidFill>
            <a:schemeClr val="tx1"/>
          </a:solidFill>
          <a:latin typeface="+mn-lt"/>
          <a:cs typeface="+mn-cs"/>
        </a:defRPr>
      </a:lvl4pPr>
      <a:lvl5pPr marL="737100" indent="-135000" algn="l" defTabSz="432000" rtl="0" eaLnBrk="1" fontAlgn="base" hangingPunct="1">
        <a:spcBef>
          <a:spcPts val="0"/>
        </a:spcBef>
        <a:spcAft>
          <a:spcPts val="0"/>
        </a:spcAft>
        <a:buClr>
          <a:schemeClr val="accent1"/>
        </a:buClr>
        <a:buSzPct val="100000"/>
        <a:buFont typeface="Arial" panose="020B0604020202020204" pitchFamily="34" charset="0"/>
        <a:buChar char="–"/>
        <a:defRPr sz="1050" baseline="0">
          <a:solidFill>
            <a:schemeClr val="tx1"/>
          </a:solidFill>
          <a:latin typeface="+mn-lt"/>
          <a:cs typeface="+mn-cs"/>
        </a:defRPr>
      </a:lvl5pPr>
      <a:lvl6pPr marL="737100" indent="-135000" algn="l" defTabSz="432000" rtl="0" eaLnBrk="1" fontAlgn="base" hangingPunct="1">
        <a:spcBef>
          <a:spcPts val="0"/>
        </a:spcBef>
        <a:spcAft>
          <a:spcPts val="0"/>
        </a:spcAft>
        <a:buClr>
          <a:schemeClr val="accent1"/>
        </a:buClr>
        <a:buFont typeface="Arial" panose="020B0604020202020204" pitchFamily="34" charset="0"/>
        <a:buChar char="–"/>
        <a:defRPr sz="1050" baseline="0">
          <a:solidFill>
            <a:schemeClr val="tx1"/>
          </a:solidFill>
          <a:latin typeface="+mn-lt"/>
          <a:cs typeface="+mn-cs"/>
        </a:defRPr>
      </a:lvl6pPr>
      <a:lvl7pPr marL="737100" indent="-135000" algn="l" defTabSz="432000" rtl="0" eaLnBrk="1" fontAlgn="base" hangingPunct="1">
        <a:spcBef>
          <a:spcPts val="0"/>
        </a:spcBef>
        <a:spcAft>
          <a:spcPct val="0"/>
        </a:spcAft>
        <a:buClr>
          <a:schemeClr val="accent1"/>
        </a:buClr>
        <a:buFont typeface="Arial" panose="020B0604020202020204" pitchFamily="34" charset="0"/>
        <a:buChar char="–"/>
        <a:defRPr sz="1050">
          <a:solidFill>
            <a:schemeClr val="tx1"/>
          </a:solidFill>
          <a:latin typeface="+mn-lt"/>
          <a:cs typeface="+mn-cs"/>
        </a:defRPr>
      </a:lvl7pPr>
      <a:lvl8pPr marL="737100" indent="-135000" algn="l" defTabSz="432000" rtl="0" eaLnBrk="1" fontAlgn="base" hangingPunct="1">
        <a:spcBef>
          <a:spcPts val="0"/>
        </a:spcBef>
        <a:spcAft>
          <a:spcPct val="0"/>
        </a:spcAft>
        <a:buClr>
          <a:schemeClr val="accent1"/>
        </a:buClr>
        <a:buFont typeface="Arial" panose="020B0604020202020204" pitchFamily="34" charset="0"/>
        <a:buChar char="–"/>
        <a:defRPr sz="1050">
          <a:solidFill>
            <a:schemeClr val="tx1"/>
          </a:solidFill>
          <a:latin typeface="+mn-lt"/>
          <a:cs typeface="+mn-cs"/>
        </a:defRPr>
      </a:lvl8pPr>
      <a:lvl9pPr marL="737100" indent="-135000" algn="l" defTabSz="432000" rtl="0" eaLnBrk="1" fontAlgn="base" hangingPunct="1">
        <a:spcBef>
          <a:spcPts val="0"/>
        </a:spcBef>
        <a:spcAft>
          <a:spcPct val="0"/>
        </a:spcAft>
        <a:buClr>
          <a:schemeClr val="accent1"/>
        </a:buClr>
        <a:buFont typeface="Arial" panose="020B0604020202020204" pitchFamily="34" charset="0"/>
        <a:buChar char="–"/>
        <a:defRPr sz="1050">
          <a:solidFill>
            <a:schemeClr val="tx1"/>
          </a:solidFill>
          <a:latin typeface="+mn-lt"/>
          <a:cs typeface="+mn-cs"/>
        </a:defRPr>
      </a:lvl9pPr>
    </p:bodyStyle>
    <p:otherStyle>
      <a:defPPr>
        <a:defRPr lang="de-DE"/>
      </a:defPPr>
      <a:lvl1pPr marL="0" algn="l" defTabSz="914378" rtl="0" eaLnBrk="1" latinLnBrk="0" hangingPunct="1">
        <a:defRPr sz="1350" kern="1200">
          <a:solidFill>
            <a:schemeClr val="tx1"/>
          </a:solidFill>
          <a:latin typeface="+mn-lt"/>
          <a:ea typeface="+mn-ea"/>
          <a:cs typeface="+mn-cs"/>
        </a:defRPr>
      </a:lvl1pPr>
      <a:lvl2pPr marL="457189" algn="l" defTabSz="914378" rtl="0" eaLnBrk="1" latinLnBrk="0" hangingPunct="1">
        <a:defRPr sz="1350" kern="1200">
          <a:solidFill>
            <a:schemeClr val="tx1"/>
          </a:solidFill>
          <a:latin typeface="+mn-lt"/>
          <a:ea typeface="+mn-ea"/>
          <a:cs typeface="+mn-cs"/>
        </a:defRPr>
      </a:lvl2pPr>
      <a:lvl3pPr marL="914378" algn="l" defTabSz="914378" rtl="0" eaLnBrk="1" latinLnBrk="0" hangingPunct="1">
        <a:defRPr sz="1350" kern="1200">
          <a:solidFill>
            <a:schemeClr val="tx1"/>
          </a:solidFill>
          <a:latin typeface="+mn-lt"/>
          <a:ea typeface="+mn-ea"/>
          <a:cs typeface="+mn-cs"/>
        </a:defRPr>
      </a:lvl3pPr>
      <a:lvl4pPr marL="1371566" algn="l" defTabSz="914378" rtl="0" eaLnBrk="1" latinLnBrk="0" hangingPunct="1">
        <a:defRPr sz="1350" kern="1200">
          <a:solidFill>
            <a:schemeClr val="tx1"/>
          </a:solidFill>
          <a:latin typeface="+mn-lt"/>
          <a:ea typeface="+mn-ea"/>
          <a:cs typeface="+mn-cs"/>
        </a:defRPr>
      </a:lvl4pPr>
      <a:lvl5pPr marL="1828754" algn="l" defTabSz="914378" rtl="0" eaLnBrk="1" latinLnBrk="0" hangingPunct="1">
        <a:defRPr sz="1350" kern="1200">
          <a:solidFill>
            <a:schemeClr val="tx1"/>
          </a:solidFill>
          <a:latin typeface="+mn-lt"/>
          <a:ea typeface="+mn-ea"/>
          <a:cs typeface="+mn-cs"/>
        </a:defRPr>
      </a:lvl5pPr>
      <a:lvl6pPr marL="2285943" algn="l" defTabSz="914378" rtl="0" eaLnBrk="1" latinLnBrk="0" hangingPunct="1">
        <a:defRPr sz="1350" kern="1200">
          <a:solidFill>
            <a:schemeClr val="tx1"/>
          </a:solidFill>
          <a:latin typeface="+mn-lt"/>
          <a:ea typeface="+mn-ea"/>
          <a:cs typeface="+mn-cs"/>
        </a:defRPr>
      </a:lvl6pPr>
      <a:lvl7pPr marL="2743132" algn="l" defTabSz="914378" rtl="0" eaLnBrk="1" latinLnBrk="0" hangingPunct="1">
        <a:defRPr sz="1350" kern="1200">
          <a:solidFill>
            <a:schemeClr val="tx1"/>
          </a:solidFill>
          <a:latin typeface="+mn-lt"/>
          <a:ea typeface="+mn-ea"/>
          <a:cs typeface="+mn-cs"/>
        </a:defRPr>
      </a:lvl7pPr>
      <a:lvl8pPr marL="3200320" algn="l" defTabSz="914378" rtl="0" eaLnBrk="1" latinLnBrk="0" hangingPunct="1">
        <a:defRPr sz="1350" kern="1200">
          <a:solidFill>
            <a:schemeClr val="tx1"/>
          </a:solidFill>
          <a:latin typeface="+mn-lt"/>
          <a:ea typeface="+mn-ea"/>
          <a:cs typeface="+mn-cs"/>
        </a:defRPr>
      </a:lvl8pPr>
      <a:lvl9pPr marL="3657509" algn="l" defTabSz="914378"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customXml" Target="../ink/ink1.xml"/><Relationship Id="rId7" Type="http://schemas.openxmlformats.org/officeDocument/2006/relationships/image" Target="../media/image27.png"/><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11.xml.rels><?xml version="1.0" encoding="UTF-8" standalone="yes"?>
<Relationships xmlns="http://schemas.openxmlformats.org/package/2006/relationships"><Relationship Id="rId8" Type="http://schemas.openxmlformats.org/officeDocument/2006/relationships/diagramData" Target="../diagrams/data6.xml"/><Relationship Id="rId13" Type="http://schemas.openxmlformats.org/officeDocument/2006/relationships/diagramData" Target="../diagrams/data7.xml"/><Relationship Id="rId18" Type="http://schemas.openxmlformats.org/officeDocument/2006/relationships/image" Target="../media/image29.png"/><Relationship Id="rId3" Type="http://schemas.openxmlformats.org/officeDocument/2006/relationships/diagramData" Target="../diagrams/data5.xml"/><Relationship Id="rId21" Type="http://schemas.openxmlformats.org/officeDocument/2006/relationships/image" Target="../media/image32.svg"/><Relationship Id="rId7" Type="http://schemas.microsoft.com/office/2007/relationships/diagramDrawing" Target="../diagrams/drawing5.xml"/><Relationship Id="rId12" Type="http://schemas.microsoft.com/office/2007/relationships/diagramDrawing" Target="../diagrams/drawing6.xml"/><Relationship Id="rId17" Type="http://schemas.microsoft.com/office/2007/relationships/diagramDrawing" Target="../diagrams/drawing7.xml"/><Relationship Id="rId2" Type="http://schemas.openxmlformats.org/officeDocument/2006/relationships/notesSlide" Target="../notesSlides/notesSlide11.xml"/><Relationship Id="rId16" Type="http://schemas.openxmlformats.org/officeDocument/2006/relationships/diagramColors" Target="../diagrams/colors7.xml"/><Relationship Id="rId20" Type="http://schemas.openxmlformats.org/officeDocument/2006/relationships/image" Target="../media/image31.png"/><Relationship Id="rId1" Type="http://schemas.openxmlformats.org/officeDocument/2006/relationships/slideLayout" Target="../slideLayouts/slideLayout6.xml"/><Relationship Id="rId6" Type="http://schemas.openxmlformats.org/officeDocument/2006/relationships/diagramColors" Target="../diagrams/colors5.xml"/><Relationship Id="rId11" Type="http://schemas.openxmlformats.org/officeDocument/2006/relationships/diagramColors" Target="../diagrams/colors6.xml"/><Relationship Id="rId5" Type="http://schemas.openxmlformats.org/officeDocument/2006/relationships/diagramQuickStyle" Target="../diagrams/quickStyle5.xml"/><Relationship Id="rId15" Type="http://schemas.openxmlformats.org/officeDocument/2006/relationships/diagramQuickStyle" Target="../diagrams/quickStyle7.xml"/><Relationship Id="rId23" Type="http://schemas.openxmlformats.org/officeDocument/2006/relationships/image" Target="../media/image34.svg"/><Relationship Id="rId10" Type="http://schemas.openxmlformats.org/officeDocument/2006/relationships/diagramQuickStyle" Target="../diagrams/quickStyle6.xml"/><Relationship Id="rId19" Type="http://schemas.openxmlformats.org/officeDocument/2006/relationships/image" Target="../media/image30.svg"/><Relationship Id="rId4" Type="http://schemas.openxmlformats.org/officeDocument/2006/relationships/diagramLayout" Target="../diagrams/layout5.xml"/><Relationship Id="rId9" Type="http://schemas.openxmlformats.org/officeDocument/2006/relationships/diagramLayout" Target="../diagrams/layout6.xml"/><Relationship Id="rId14" Type="http://schemas.openxmlformats.org/officeDocument/2006/relationships/diagramLayout" Target="../diagrams/layout7.xml"/><Relationship Id="rId22" Type="http://schemas.openxmlformats.org/officeDocument/2006/relationships/image" Target="../media/image33.png"/></Relationships>
</file>

<file path=ppt/slides/_rels/slide12.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12.xml"/><Relationship Id="rId1" Type="http://schemas.openxmlformats.org/officeDocument/2006/relationships/slideLayout" Target="../slideLayouts/slideLayout6.xml"/><Relationship Id="rId6" Type="http://schemas.openxmlformats.org/officeDocument/2006/relationships/image" Target="../media/image38.png"/><Relationship Id="rId5" Type="http://schemas.openxmlformats.org/officeDocument/2006/relationships/image" Target="../media/image37.png"/><Relationship Id="rId10" Type="http://schemas.openxmlformats.org/officeDocument/2006/relationships/image" Target="../media/image41.svg"/><Relationship Id="rId4" Type="http://schemas.openxmlformats.org/officeDocument/2006/relationships/image" Target="../media/image36.png"/><Relationship Id="rId9" Type="http://schemas.openxmlformats.org/officeDocument/2006/relationships/image" Target="../media/image29.png"/></Relationships>
</file>

<file path=ppt/slides/_rels/slide1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3.xml"/><Relationship Id="rId1" Type="http://schemas.openxmlformats.org/officeDocument/2006/relationships/slideLayout" Target="../slideLayouts/slideLayout6.xml"/><Relationship Id="rId4" Type="http://schemas.openxmlformats.org/officeDocument/2006/relationships/image" Target="../media/image43.sv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44.png"/><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6.xml"/><Relationship Id="rId1" Type="http://schemas.openxmlformats.org/officeDocument/2006/relationships/slideLayout" Target="../slideLayouts/slideLayout6.xml"/><Relationship Id="rId4" Type="http://schemas.openxmlformats.org/officeDocument/2006/relationships/image" Target="../media/image46.svg"/></Relationships>
</file>

<file path=ppt/slides/_rels/slide1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image" Target="../media/image48.sv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139.xml"/></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13.pn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png"/><Relationship Id="rId9" Type="http://schemas.openxmlformats.org/officeDocument/2006/relationships/image" Target="../media/image16.png"/></Relationships>
</file>

<file path=ppt/slides/_rels/slide5.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 Id="rId9" Type="http://schemas.openxmlformats.org/officeDocument/2006/relationships/image" Target="../media/image20.png"/></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8.xml"/><Relationship Id="rId1" Type="http://schemas.openxmlformats.org/officeDocument/2006/relationships/slideLayout" Target="../slideLayouts/slideLayout6.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9.xml"/><Relationship Id="rId1" Type="http://schemas.openxmlformats.org/officeDocument/2006/relationships/slideLayout" Target="../slideLayouts/slideLayout6.xml"/><Relationship Id="rId5" Type="http://schemas.openxmlformats.org/officeDocument/2006/relationships/image" Target="../media/image23.png"/><Relationship Id="rId4"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BBDAEA9-F06A-4AD0-AE94-2AB246C4EE1B}"/>
              </a:ext>
            </a:extLst>
          </p:cNvPr>
          <p:cNvSpPr>
            <a:spLocks noGrp="1"/>
          </p:cNvSpPr>
          <p:nvPr>
            <p:ph type="ctrTitle"/>
          </p:nvPr>
        </p:nvSpPr>
        <p:spPr/>
        <p:txBody>
          <a:bodyPr/>
          <a:lstStyle/>
          <a:p>
            <a:r>
              <a:rPr lang="en-GB" dirty="0"/>
              <a:t>Azure Bot and Root Cause Analysis using unsupervised model</a:t>
            </a:r>
            <a:endParaRPr lang="en-SG" dirty="0"/>
          </a:p>
        </p:txBody>
      </p:sp>
      <p:sp>
        <p:nvSpPr>
          <p:cNvPr id="5" name="MIO_CONVERT_SLIDES_SUBTITLE">
            <a:extLst>
              <a:ext uri="{FF2B5EF4-FFF2-40B4-BE49-F238E27FC236}">
                <a16:creationId xmlns:a16="http://schemas.microsoft.com/office/drawing/2014/main" id="{2BD22B92-F315-4CD0-A326-D359C8AB1B0A}"/>
              </a:ext>
            </a:extLst>
          </p:cNvPr>
          <p:cNvSpPr>
            <a:spLocks noGrp="1"/>
          </p:cNvSpPr>
          <p:nvPr>
            <p:ph type="subTitle" idx="1"/>
          </p:nvPr>
        </p:nvSpPr>
        <p:spPr/>
        <p:txBody>
          <a:bodyPr/>
          <a:lstStyle/>
          <a:p>
            <a:r>
              <a:rPr lang="en-SG" dirty="0"/>
              <a:t>Arunava Manna(IFAP CSC FI BE)</a:t>
            </a:r>
          </a:p>
          <a:p>
            <a:r>
              <a:rPr lang="en-SG" dirty="0"/>
              <a:t>28.07.22</a:t>
            </a:r>
          </a:p>
        </p:txBody>
      </p:sp>
      <p:sp>
        <p:nvSpPr>
          <p:cNvPr id="8" name="Slide Number Placeholder 7">
            <a:extLst>
              <a:ext uri="{FF2B5EF4-FFF2-40B4-BE49-F238E27FC236}">
                <a16:creationId xmlns:a16="http://schemas.microsoft.com/office/drawing/2014/main" id="{D0A144AB-B1A8-48A2-BFF4-5FFDBCA1BE5D}"/>
              </a:ext>
            </a:extLst>
          </p:cNvPr>
          <p:cNvSpPr>
            <a:spLocks noGrp="1"/>
          </p:cNvSpPr>
          <p:nvPr>
            <p:ph type="sldNum" sz="quarter" idx="12"/>
          </p:nvPr>
        </p:nvSpPr>
        <p:spPr/>
        <p:txBody>
          <a:bodyPr/>
          <a:lstStyle/>
          <a:p>
            <a:r>
              <a:rPr lang="en-US" dirty="0"/>
              <a:t> </a:t>
            </a:r>
          </a:p>
        </p:txBody>
      </p:sp>
    </p:spTree>
    <p:extLst>
      <p:ext uri="{BB962C8B-B14F-4D97-AF65-F5344CB8AC3E}">
        <p14:creationId xmlns:p14="http://schemas.microsoft.com/office/powerpoint/2010/main" val="68720306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4">
            <a:extLst>
              <a:ext uri="{FF2B5EF4-FFF2-40B4-BE49-F238E27FC236}">
                <a16:creationId xmlns:a16="http://schemas.microsoft.com/office/drawing/2014/main" id="{D5D96A60-E9D8-4504-BD99-AD987207E631}"/>
              </a:ext>
            </a:extLst>
          </p:cNvPr>
          <p:cNvSpPr txBox="1">
            <a:spLocks/>
          </p:cNvSpPr>
          <p:nvPr/>
        </p:nvSpPr>
        <p:spPr>
          <a:xfrm>
            <a:off x="288936" y="915988"/>
            <a:ext cx="8640764" cy="3775059"/>
          </a:xfrm>
          <a:prstGeom prst="rect">
            <a:avLst/>
          </a:prstGeom>
        </p:spPr>
        <p:txBody>
          <a:bodyPr vert="horz" lIns="0" tIns="0" rIns="0" bIns="0" rtlCol="0">
            <a:noAutofit/>
          </a:bodyPr>
          <a:lstStyle>
            <a:lvl1pPr marL="135000" indent="-135000" algn="l" defTabSz="432000" rtl="0" eaLnBrk="1" fontAlgn="base" hangingPunct="1">
              <a:spcBef>
                <a:spcPts val="0"/>
              </a:spcBef>
              <a:spcAft>
                <a:spcPts val="0"/>
              </a:spcAft>
              <a:buClr>
                <a:schemeClr val="accent1"/>
              </a:buClr>
              <a:buSzPct val="100000"/>
              <a:buFont typeface="Arial" panose="020B0604020202020204" pitchFamily="34" charset="0"/>
              <a:buChar char="›"/>
              <a:defRPr sz="1500" baseline="0">
                <a:solidFill>
                  <a:schemeClr val="tx1"/>
                </a:solidFill>
                <a:latin typeface="+mn-lt"/>
                <a:ea typeface="+mn-ea"/>
                <a:cs typeface="+mn-cs"/>
              </a:defRPr>
            </a:lvl1pPr>
            <a:lvl2pPr marL="337500" indent="-202500" algn="l" defTabSz="432000" rtl="0" eaLnBrk="1" fontAlgn="base" hangingPunct="1">
              <a:spcBef>
                <a:spcPts val="0"/>
              </a:spcBef>
              <a:spcAft>
                <a:spcPts val="0"/>
              </a:spcAft>
              <a:buClr>
                <a:schemeClr val="accent1"/>
              </a:buClr>
              <a:buSzPct val="100000"/>
              <a:buFont typeface="Verdana" panose="020B0604030504040204" pitchFamily="34" charset="0"/>
              <a:buChar char="–"/>
              <a:defRPr sz="1500">
                <a:solidFill>
                  <a:schemeClr val="tx1"/>
                </a:solidFill>
                <a:latin typeface="+mn-lt"/>
                <a:ea typeface="+mn-ea"/>
                <a:cs typeface="+mn-cs"/>
              </a:defRPr>
            </a:lvl2pPr>
            <a:lvl3pPr marL="472500" indent="-135000" algn="l" defTabSz="432000" rtl="0" eaLnBrk="1" fontAlgn="base" hangingPunct="1">
              <a:spcBef>
                <a:spcPts val="0"/>
              </a:spcBef>
              <a:spcAft>
                <a:spcPts val="0"/>
              </a:spcAft>
              <a:buClr>
                <a:schemeClr val="accent1"/>
              </a:buClr>
              <a:buSzPct val="100000"/>
              <a:buFont typeface="Arial" panose="020B0604020202020204" pitchFamily="34" charset="0"/>
              <a:buChar char="–"/>
              <a:defRPr sz="1350" baseline="0">
                <a:solidFill>
                  <a:schemeClr val="tx1"/>
                </a:solidFill>
                <a:latin typeface="+mn-lt"/>
                <a:ea typeface="+mn-ea"/>
                <a:cs typeface="+mn-cs"/>
              </a:defRPr>
            </a:lvl3pPr>
            <a:lvl4pPr marL="602100" indent="-129600" algn="l" defTabSz="432000" rtl="0" eaLnBrk="1" fontAlgn="base" hangingPunct="1">
              <a:spcBef>
                <a:spcPts val="0"/>
              </a:spcBef>
              <a:spcAft>
                <a:spcPts val="0"/>
              </a:spcAft>
              <a:buClr>
                <a:schemeClr val="accent1"/>
              </a:buClr>
              <a:buSzPct val="100000"/>
              <a:buFont typeface="Arial" panose="020B0604020202020204" pitchFamily="34" charset="0"/>
              <a:buChar char="–"/>
              <a:defRPr sz="1200" baseline="0">
                <a:solidFill>
                  <a:schemeClr val="tx1"/>
                </a:solidFill>
                <a:latin typeface="+mn-lt"/>
                <a:ea typeface="+mn-ea"/>
                <a:cs typeface="+mn-cs"/>
              </a:defRPr>
            </a:lvl4pPr>
            <a:lvl5pPr marL="737100" indent="-135000" algn="l" defTabSz="432000" rtl="0" eaLnBrk="1" fontAlgn="base" hangingPunct="1">
              <a:spcBef>
                <a:spcPts val="0"/>
              </a:spcBef>
              <a:spcAft>
                <a:spcPts val="0"/>
              </a:spcAft>
              <a:buClr>
                <a:schemeClr val="accent1"/>
              </a:buClr>
              <a:buSzPct val="100000"/>
              <a:buFont typeface="Arial" panose="020B0604020202020204" pitchFamily="34" charset="0"/>
              <a:buChar char="–"/>
              <a:defRPr sz="1050" baseline="0">
                <a:solidFill>
                  <a:schemeClr val="tx1"/>
                </a:solidFill>
                <a:latin typeface="+mn-lt"/>
                <a:ea typeface="+mn-ea"/>
                <a:cs typeface="+mn-cs"/>
              </a:defRPr>
            </a:lvl5pPr>
            <a:lvl6pPr marL="737100" indent="-135000" algn="l" defTabSz="432000" rtl="0" eaLnBrk="1" fontAlgn="base" hangingPunct="1">
              <a:spcBef>
                <a:spcPts val="0"/>
              </a:spcBef>
              <a:spcAft>
                <a:spcPts val="0"/>
              </a:spcAft>
              <a:buClr>
                <a:schemeClr val="accent1"/>
              </a:buClr>
              <a:buFont typeface="Arial" panose="020B0604020202020204" pitchFamily="34" charset="0"/>
              <a:buChar char="–"/>
              <a:defRPr sz="1050" baseline="0">
                <a:solidFill>
                  <a:schemeClr val="tx1"/>
                </a:solidFill>
                <a:latin typeface="+mn-lt"/>
                <a:cs typeface="+mn-cs"/>
              </a:defRPr>
            </a:lvl6pPr>
            <a:lvl7pPr marL="737100" indent="-135000" algn="l" defTabSz="432000" rtl="0" eaLnBrk="1" fontAlgn="base" hangingPunct="1">
              <a:spcBef>
                <a:spcPts val="0"/>
              </a:spcBef>
              <a:spcAft>
                <a:spcPct val="0"/>
              </a:spcAft>
              <a:buClr>
                <a:schemeClr val="accent1"/>
              </a:buClr>
              <a:buFont typeface="Arial" panose="020B0604020202020204" pitchFamily="34" charset="0"/>
              <a:buChar char="–"/>
              <a:defRPr sz="1050">
                <a:solidFill>
                  <a:schemeClr val="tx1"/>
                </a:solidFill>
                <a:latin typeface="+mn-lt"/>
                <a:cs typeface="+mn-cs"/>
              </a:defRPr>
            </a:lvl7pPr>
            <a:lvl8pPr marL="737100" indent="-135000" algn="l" defTabSz="432000" rtl="0" eaLnBrk="1" fontAlgn="base" hangingPunct="1">
              <a:spcBef>
                <a:spcPts val="0"/>
              </a:spcBef>
              <a:spcAft>
                <a:spcPct val="0"/>
              </a:spcAft>
              <a:buClr>
                <a:schemeClr val="accent1"/>
              </a:buClr>
              <a:buFont typeface="Arial" panose="020B0604020202020204" pitchFamily="34" charset="0"/>
              <a:buChar char="–"/>
              <a:defRPr sz="1050">
                <a:solidFill>
                  <a:schemeClr val="tx1"/>
                </a:solidFill>
                <a:latin typeface="+mn-lt"/>
                <a:cs typeface="+mn-cs"/>
              </a:defRPr>
            </a:lvl8pPr>
            <a:lvl9pPr marL="737100" indent="-135000" algn="l" defTabSz="432000" rtl="0" eaLnBrk="1" fontAlgn="base" hangingPunct="1">
              <a:spcBef>
                <a:spcPts val="0"/>
              </a:spcBef>
              <a:spcAft>
                <a:spcPct val="0"/>
              </a:spcAft>
              <a:buClr>
                <a:schemeClr val="accent1"/>
              </a:buClr>
              <a:buFont typeface="Arial" panose="020B0604020202020204" pitchFamily="34" charset="0"/>
              <a:buChar char="–"/>
              <a:defRPr sz="1050">
                <a:solidFill>
                  <a:schemeClr val="tx1"/>
                </a:solidFill>
                <a:latin typeface="+mn-lt"/>
                <a:cs typeface="+mn-cs"/>
              </a:defRPr>
            </a:lvl9pPr>
          </a:lstStyle>
          <a:p>
            <a:r>
              <a:rPr lang="en-SG" sz="1400" kern="0" dirty="0">
                <a:solidFill>
                  <a:schemeClr val="dk1"/>
                </a:solidFill>
              </a:rPr>
              <a:t>Text -&gt; usable vector (Text vectorizer)</a:t>
            </a:r>
          </a:p>
          <a:p>
            <a:r>
              <a:rPr lang="en-SG" sz="1400" kern="0" dirty="0">
                <a:solidFill>
                  <a:schemeClr val="dk1"/>
                </a:solidFill>
              </a:rPr>
              <a:t>Term Frequency( no. of occurrences of a specific term in a doc)</a:t>
            </a:r>
          </a:p>
          <a:p>
            <a:r>
              <a:rPr lang="en-SG" sz="1400" kern="0" dirty="0">
                <a:solidFill>
                  <a:schemeClr val="dk1"/>
                </a:solidFill>
              </a:rPr>
              <a:t>Document Frequency(no. of documents containing a specific term)</a:t>
            </a:r>
          </a:p>
          <a:p>
            <a:r>
              <a:rPr lang="en-SG" sz="1400" kern="0" dirty="0">
                <a:solidFill>
                  <a:schemeClr val="dk1"/>
                </a:solidFill>
              </a:rPr>
              <a:t>IDF(weight of a term, it aims to reduce the weight of a term if the term’s occurrences are scattered throughout all the documents)</a:t>
            </a:r>
          </a:p>
        </p:txBody>
      </p:sp>
      <mc:AlternateContent xmlns:mc="http://schemas.openxmlformats.org/markup-compatibility/2006">
        <mc:Choice xmlns:p14="http://schemas.microsoft.com/office/powerpoint/2010/main" Requires="p14">
          <p:contentPart p14:bwMode="auto" r:id="rId3">
            <p14:nvContentPartPr>
              <p14:cNvPr id="9" name="Ink 8">
                <a:extLst>
                  <a:ext uri="{FF2B5EF4-FFF2-40B4-BE49-F238E27FC236}">
                    <a16:creationId xmlns:a16="http://schemas.microsoft.com/office/drawing/2014/main" id="{B7BA41C7-E0CF-4DE9-B0C7-39744AAE4B68}"/>
                  </a:ext>
                </a:extLst>
              </p14:cNvPr>
              <p14:cNvContentPartPr/>
              <p14:nvPr/>
            </p14:nvContentPartPr>
            <p14:xfrm>
              <a:off x="4582064" y="1423080"/>
              <a:ext cx="16561" cy="42170"/>
            </p14:xfrm>
          </p:contentPart>
        </mc:Choice>
        <mc:Fallback>
          <p:pic>
            <p:nvPicPr>
              <p:cNvPr id="9" name="Ink 8">
                <a:extLst>
                  <a:ext uri="{FF2B5EF4-FFF2-40B4-BE49-F238E27FC236}">
                    <a16:creationId xmlns:a16="http://schemas.microsoft.com/office/drawing/2014/main" id="{B7BA41C7-E0CF-4DE9-B0C7-39744AAE4B68}"/>
                  </a:ext>
                </a:extLst>
              </p:cNvPr>
              <p:cNvPicPr/>
              <p:nvPr/>
            </p:nvPicPr>
            <p:blipFill>
              <a:blip r:embed="rId4"/>
              <a:stretch>
                <a:fillRect/>
              </a:stretch>
            </p:blipFill>
            <p:spPr>
              <a:xfrm>
                <a:off x="4573423" y="1413992"/>
                <a:ext cx="34202" cy="59983"/>
              </a:xfrm>
              <a:prstGeom prst="rect">
                <a:avLst/>
              </a:prstGeom>
            </p:spPr>
          </p:pic>
        </mc:Fallback>
      </mc:AlternateContent>
      <mc:AlternateContent xmlns:mc="http://schemas.openxmlformats.org/markup-compatibility/2006">
        <mc:Choice xmlns:a14="http://schemas.microsoft.com/office/drawing/2010/main" Requires="a14">
          <p:sp>
            <p:nvSpPr>
              <p:cNvPr id="10" name="TextBox 9">
                <a:extLst>
                  <a:ext uri="{FF2B5EF4-FFF2-40B4-BE49-F238E27FC236}">
                    <a16:creationId xmlns:a16="http://schemas.microsoft.com/office/drawing/2014/main" id="{91AE3C12-F573-4A36-80DA-0E0555AB0837}"/>
                  </a:ext>
                </a:extLst>
              </p:cNvPr>
              <p:cNvSpPr txBox="1"/>
              <p:nvPr/>
            </p:nvSpPr>
            <p:spPr bwMode="auto">
              <a:xfrm>
                <a:off x="834344" y="2462308"/>
                <a:ext cx="1288814" cy="522515"/>
              </a:xfrm>
              <a:prstGeom prst="rect">
                <a:avLst/>
              </a:prstGeom>
              <a:noFill/>
              <a:ln w="9525">
                <a:noFill/>
                <a:miter lim="800000"/>
                <a:headEnd/>
                <a:tailEnd/>
              </a:ln>
              <a:effectLst/>
            </p:spPr>
            <p:txBody>
              <a:bodyPr wrap="none" lIns="0" tIns="0" rIns="0" bIns="0" rtlCol="0" anchor="ctr" anchorCtr="0">
                <a:spAutoFit/>
              </a:bodyPr>
              <a:lstStyle/>
              <a:p>
                <a:pPr marR="0" defTabSz="914400" eaLnBrk="0" fontAlgn="auto" latinLnBrk="0" hangingPunct="0">
                  <a:spcBef>
                    <a:spcPts val="0"/>
                  </a:spcBef>
                  <a:spcAft>
                    <a:spcPts val="300"/>
                  </a:spcAft>
                  <a:buClr>
                    <a:schemeClr val="accent1"/>
                  </a:buClr>
                  <a:buSzTx/>
                  <a:tabLst/>
                </a:pPr>
                <a14:m>
                  <m:oMathPara xmlns:m="http://schemas.openxmlformats.org/officeDocument/2006/math">
                    <m:oMathParaPr>
                      <m:jc m:val="centerGroup"/>
                    </m:oMathParaPr>
                    <m:oMath xmlns:m="http://schemas.openxmlformats.org/officeDocument/2006/math">
                      <m:r>
                        <a:rPr lang="en-SG" sz="1400" kern="0" dirty="0" smtClean="0">
                          <a:solidFill>
                            <a:schemeClr val="dk1"/>
                          </a:solidFill>
                          <a:latin typeface="Cambria Math" panose="02040503050406030204" pitchFamily="18" charset="0"/>
                        </a:rPr>
                        <m:t>ⅈ</m:t>
                      </m:r>
                      <m:r>
                        <a:rPr lang="en-SG" sz="1400" i="0" kern="0" dirty="0" smtClean="0">
                          <a:solidFill>
                            <a:schemeClr val="dk1"/>
                          </a:solidFill>
                          <a:latin typeface="Cambria Math" panose="02040503050406030204" pitchFamily="18" charset="0"/>
                        </a:rPr>
                        <m:t>ⅆ</m:t>
                      </m:r>
                      <m:sSub>
                        <m:sSubPr>
                          <m:ctrlPr>
                            <a:rPr lang="en-SG" sz="1400" i="1" kern="0" dirty="0" smtClean="0">
                              <a:solidFill>
                                <a:schemeClr val="dk1"/>
                              </a:solidFill>
                              <a:latin typeface="Cambria Math" panose="02040503050406030204" pitchFamily="18" charset="0"/>
                            </a:rPr>
                          </m:ctrlPr>
                        </m:sSubPr>
                        <m:e>
                          <m:r>
                            <a:rPr lang="en-SG" sz="1400" i="1" kern="0" dirty="0" smtClean="0">
                              <a:solidFill>
                                <a:schemeClr val="dk1"/>
                              </a:solidFill>
                              <a:latin typeface="Cambria Math" panose="02040503050406030204" pitchFamily="18" charset="0"/>
                            </a:rPr>
                            <m:t>𝑓</m:t>
                          </m:r>
                        </m:e>
                        <m:sub>
                          <m:r>
                            <a:rPr lang="en-SG" sz="1400" i="1" kern="0" dirty="0" smtClean="0">
                              <a:solidFill>
                                <a:schemeClr val="dk1"/>
                              </a:solidFill>
                              <a:latin typeface="Cambria Math" panose="02040503050406030204" pitchFamily="18" charset="0"/>
                            </a:rPr>
                            <m:t>𝑖</m:t>
                          </m:r>
                        </m:sub>
                      </m:sSub>
                      <m:r>
                        <a:rPr lang="en-SG" sz="1400" i="0" kern="0" dirty="0" smtClean="0">
                          <a:solidFill>
                            <a:schemeClr val="dk1"/>
                          </a:solidFill>
                          <a:latin typeface="Cambria Math" panose="02040503050406030204" pitchFamily="18" charset="0"/>
                        </a:rPr>
                        <m:t>=</m:t>
                      </m:r>
                      <m:func>
                        <m:funcPr>
                          <m:ctrlPr>
                            <a:rPr lang="en-SG" sz="1400" i="1" kern="0" dirty="0" smtClean="0">
                              <a:solidFill>
                                <a:schemeClr val="dk1"/>
                              </a:solidFill>
                              <a:latin typeface="Cambria Math" panose="02040503050406030204" pitchFamily="18" charset="0"/>
                            </a:rPr>
                          </m:ctrlPr>
                        </m:funcPr>
                        <m:fName>
                          <m:r>
                            <m:rPr>
                              <m:sty m:val="p"/>
                            </m:rPr>
                            <a:rPr lang="en-SG" sz="1400" i="0" kern="0" dirty="0" smtClean="0">
                              <a:solidFill>
                                <a:schemeClr val="dk1"/>
                              </a:solidFill>
                              <a:latin typeface="Cambria Math" panose="02040503050406030204" pitchFamily="18" charset="0"/>
                            </a:rPr>
                            <m:t>log</m:t>
                          </m:r>
                        </m:fName>
                        <m:e>
                          <m:d>
                            <m:dPr>
                              <m:ctrlPr>
                                <a:rPr lang="en-SG" sz="1400" i="1" kern="0" dirty="0" smtClean="0">
                                  <a:solidFill>
                                    <a:schemeClr val="dk1"/>
                                  </a:solidFill>
                                  <a:latin typeface="Cambria Math" panose="02040503050406030204" pitchFamily="18" charset="0"/>
                                </a:rPr>
                              </m:ctrlPr>
                            </m:dPr>
                            <m:e>
                              <m:f>
                                <m:fPr>
                                  <m:ctrlPr>
                                    <a:rPr lang="en-SG" sz="1400" i="1" kern="0" dirty="0" smtClean="0">
                                      <a:solidFill>
                                        <a:schemeClr val="dk1"/>
                                      </a:solidFill>
                                      <a:latin typeface="Cambria Math" panose="02040503050406030204" pitchFamily="18" charset="0"/>
                                    </a:rPr>
                                  </m:ctrlPr>
                                </m:fPr>
                                <m:num>
                                  <m:r>
                                    <a:rPr lang="en-SG" sz="1400" i="1" kern="0" dirty="0" smtClean="0">
                                      <a:solidFill>
                                        <a:schemeClr val="dk1"/>
                                      </a:solidFill>
                                      <a:latin typeface="Cambria Math" panose="02040503050406030204" pitchFamily="18" charset="0"/>
                                    </a:rPr>
                                    <m:t>𝑛</m:t>
                                  </m:r>
                                </m:num>
                                <m:den>
                                  <m:r>
                                    <a:rPr lang="en-SG" sz="1400" i="0" kern="0" dirty="0" smtClean="0">
                                      <a:solidFill>
                                        <a:schemeClr val="dk1"/>
                                      </a:solidFill>
                                      <a:latin typeface="Cambria Math" panose="02040503050406030204" pitchFamily="18" charset="0"/>
                                    </a:rPr>
                                    <m:t>ⅆ</m:t>
                                  </m:r>
                                  <m:sSub>
                                    <m:sSubPr>
                                      <m:ctrlPr>
                                        <a:rPr lang="en-SG" sz="1400" i="1" kern="0" dirty="0" smtClean="0">
                                          <a:solidFill>
                                            <a:schemeClr val="dk1"/>
                                          </a:solidFill>
                                          <a:latin typeface="Cambria Math" panose="02040503050406030204" pitchFamily="18" charset="0"/>
                                        </a:rPr>
                                      </m:ctrlPr>
                                    </m:sSubPr>
                                    <m:e>
                                      <m:r>
                                        <a:rPr lang="en-SG" sz="1400" i="1" kern="0" dirty="0" smtClean="0">
                                          <a:solidFill>
                                            <a:schemeClr val="dk1"/>
                                          </a:solidFill>
                                          <a:latin typeface="Cambria Math" panose="02040503050406030204" pitchFamily="18" charset="0"/>
                                        </a:rPr>
                                        <m:t>𝑓</m:t>
                                      </m:r>
                                    </m:e>
                                    <m:sub>
                                      <m:r>
                                        <a:rPr lang="en-SG" sz="1400" i="1" kern="0" dirty="0" smtClean="0">
                                          <a:solidFill>
                                            <a:schemeClr val="dk1"/>
                                          </a:solidFill>
                                          <a:latin typeface="Cambria Math" panose="02040503050406030204" pitchFamily="18" charset="0"/>
                                        </a:rPr>
                                        <m:t>𝑖</m:t>
                                      </m:r>
                                    </m:sub>
                                  </m:sSub>
                                </m:den>
                              </m:f>
                            </m:e>
                          </m:d>
                        </m:e>
                      </m:func>
                    </m:oMath>
                  </m:oMathPara>
                </a14:m>
                <a:endParaRPr lang="en-SG" sz="1400" kern="0" dirty="0">
                  <a:latin typeface="Arial" panose="020B0604020202020204" pitchFamily="34" charset="0"/>
                  <a:ea typeface="Verdana" pitchFamily="34" charset="0"/>
                  <a:cs typeface="Arial" panose="020B0604020202020204" pitchFamily="34" charset="0"/>
                </a:endParaRPr>
              </a:p>
            </p:txBody>
          </p:sp>
        </mc:Choice>
        <mc:Fallback>
          <p:sp>
            <p:nvSpPr>
              <p:cNvPr id="10" name="TextBox 9">
                <a:extLst>
                  <a:ext uri="{FF2B5EF4-FFF2-40B4-BE49-F238E27FC236}">
                    <a16:creationId xmlns:a16="http://schemas.microsoft.com/office/drawing/2014/main" id="{91AE3C12-F573-4A36-80DA-0E0555AB0837}"/>
                  </a:ext>
                </a:extLst>
              </p:cNvPr>
              <p:cNvSpPr txBox="1">
                <a:spLocks noRot="1" noChangeAspect="1" noMove="1" noResize="1" noEditPoints="1" noAdjustHandles="1" noChangeArrowheads="1" noChangeShapeType="1" noTextEdit="1"/>
              </p:cNvSpPr>
              <p:nvPr/>
            </p:nvSpPr>
            <p:spPr bwMode="auto">
              <a:xfrm>
                <a:off x="834344" y="2462308"/>
                <a:ext cx="1288814" cy="522515"/>
              </a:xfrm>
              <a:prstGeom prst="rect">
                <a:avLst/>
              </a:prstGeom>
              <a:blipFill>
                <a:blip r:embed="rId5"/>
                <a:stretch>
                  <a:fillRect/>
                </a:stretch>
              </a:blipFill>
              <a:ln w="9525">
                <a:noFill/>
                <a:miter lim="800000"/>
                <a:headEnd/>
                <a:tailEnd/>
              </a:ln>
              <a:effectLst/>
            </p:spPr>
            <p:txBody>
              <a:bodyPr/>
              <a:lstStyle/>
              <a:p>
                <a:r>
                  <a:rPr lang="en-SG">
                    <a:noFill/>
                  </a:rPr>
                  <a:t> </a:t>
                </a:r>
              </a:p>
            </p:txBody>
          </p:sp>
        </mc:Fallback>
      </mc:AlternateContent>
      <mc:AlternateContent xmlns:mc="http://schemas.openxmlformats.org/markup-compatibility/2006">
        <mc:Choice xmlns:a14="http://schemas.microsoft.com/office/drawing/2010/main" Requires="a14">
          <p:sp>
            <p:nvSpPr>
              <p:cNvPr id="11" name="TextBox 10">
                <a:extLst>
                  <a:ext uri="{FF2B5EF4-FFF2-40B4-BE49-F238E27FC236}">
                    <a16:creationId xmlns:a16="http://schemas.microsoft.com/office/drawing/2014/main" id="{5D3ED8D6-9A32-4FDB-B926-044EA4402D95}"/>
                  </a:ext>
                </a:extLst>
              </p:cNvPr>
              <p:cNvSpPr txBox="1"/>
              <p:nvPr/>
            </p:nvSpPr>
            <p:spPr bwMode="auto">
              <a:xfrm>
                <a:off x="683333" y="3102984"/>
                <a:ext cx="1868567" cy="286617"/>
              </a:xfrm>
              <a:prstGeom prst="rect">
                <a:avLst/>
              </a:prstGeom>
              <a:noFill/>
              <a:ln w="9525">
                <a:noFill/>
                <a:miter lim="800000"/>
                <a:headEnd/>
                <a:tailEnd/>
              </a:ln>
              <a:effectLst/>
            </p:spPr>
            <p:txBody>
              <a:bodyPr wrap="square" lIns="0" tIns="0" rIns="0" bIns="0" rtlCol="0" anchor="ctr" anchorCtr="0">
                <a:spAutoFit/>
              </a:bodyPr>
              <a:lstStyle/>
              <a:p>
                <a:pPr marR="0" defTabSz="914400" eaLnBrk="0" fontAlgn="auto" latinLnBrk="0" hangingPunct="0">
                  <a:spcBef>
                    <a:spcPts val="0"/>
                  </a:spcBef>
                  <a:spcAft>
                    <a:spcPts val="300"/>
                  </a:spcAft>
                  <a:buClr>
                    <a:schemeClr val="accent1"/>
                  </a:buClr>
                  <a:buSzTx/>
                  <a:tabLst/>
                </a:pPr>
                <a14:m>
                  <m:oMathPara xmlns:m="http://schemas.openxmlformats.org/officeDocument/2006/math">
                    <m:oMathParaPr>
                      <m:jc m:val="centerGroup"/>
                    </m:oMathParaPr>
                    <m:oMath xmlns:m="http://schemas.openxmlformats.org/officeDocument/2006/math">
                      <m:sSub>
                        <m:sSubPr>
                          <m:ctrlPr>
                            <a:rPr lang="en-SG" sz="1400" i="1" kern="0" dirty="0" smtClean="0">
                              <a:solidFill>
                                <a:schemeClr val="dk1"/>
                              </a:solidFill>
                              <a:latin typeface="Cambria Math" panose="02040503050406030204" pitchFamily="18" charset="0"/>
                            </a:rPr>
                          </m:ctrlPr>
                        </m:sSubPr>
                        <m:e>
                          <m:r>
                            <a:rPr lang="en-SG" sz="1400" i="1" kern="0" dirty="0" smtClean="0">
                              <a:solidFill>
                                <a:schemeClr val="dk1"/>
                              </a:solidFill>
                              <a:latin typeface="Cambria Math" panose="02040503050406030204" pitchFamily="18" charset="0"/>
                            </a:rPr>
                            <m:t>𝑤</m:t>
                          </m:r>
                        </m:e>
                        <m:sub>
                          <m:r>
                            <a:rPr lang="en-SG" sz="1400" i="1" kern="0" dirty="0" smtClean="0">
                              <a:solidFill>
                                <a:schemeClr val="dk1"/>
                              </a:solidFill>
                              <a:latin typeface="Cambria Math" panose="02040503050406030204" pitchFamily="18" charset="0"/>
                            </a:rPr>
                            <m:t>𝑖</m:t>
                          </m:r>
                          <m:r>
                            <a:rPr lang="en-SG" sz="1400" i="0" kern="0" dirty="0" smtClean="0">
                              <a:solidFill>
                                <a:schemeClr val="dk1"/>
                              </a:solidFill>
                              <a:latin typeface="Cambria Math" panose="02040503050406030204" pitchFamily="18" charset="0"/>
                            </a:rPr>
                            <m:t>,</m:t>
                          </m:r>
                          <m:r>
                            <a:rPr lang="en-SG" sz="1400" i="1" kern="0" dirty="0" smtClean="0">
                              <a:solidFill>
                                <a:schemeClr val="dk1"/>
                              </a:solidFill>
                              <a:latin typeface="Cambria Math" panose="02040503050406030204" pitchFamily="18" charset="0"/>
                            </a:rPr>
                            <m:t>𝑗</m:t>
                          </m:r>
                        </m:sub>
                      </m:sSub>
                      <m:r>
                        <a:rPr lang="en-SG" sz="1400" i="0" kern="0" dirty="0" smtClean="0">
                          <a:solidFill>
                            <a:schemeClr val="dk1"/>
                          </a:solidFill>
                          <a:latin typeface="Cambria Math" panose="02040503050406030204" pitchFamily="18" charset="0"/>
                        </a:rPr>
                        <m:t>=</m:t>
                      </m:r>
                      <m:d>
                        <m:dPr>
                          <m:ctrlPr>
                            <a:rPr lang="en-SG" sz="1400" i="1" kern="0" dirty="0" smtClean="0">
                              <a:solidFill>
                                <a:schemeClr val="dk1"/>
                              </a:solidFill>
                              <a:latin typeface="Cambria Math" panose="02040503050406030204" pitchFamily="18" charset="0"/>
                            </a:rPr>
                          </m:ctrlPr>
                        </m:dPr>
                        <m:e>
                          <m:r>
                            <a:rPr lang="en-SG" sz="1400" i="1" kern="0" dirty="0" smtClean="0">
                              <a:solidFill>
                                <a:schemeClr val="dk1"/>
                              </a:solidFill>
                              <a:latin typeface="Cambria Math" panose="02040503050406030204" pitchFamily="18" charset="0"/>
                            </a:rPr>
                            <m:t>𝑡</m:t>
                          </m:r>
                          <m:sSub>
                            <m:sSubPr>
                              <m:ctrlPr>
                                <a:rPr lang="en-SG" sz="1400" i="1" kern="0" dirty="0" smtClean="0">
                                  <a:solidFill>
                                    <a:schemeClr val="dk1"/>
                                  </a:solidFill>
                                  <a:latin typeface="Cambria Math" panose="02040503050406030204" pitchFamily="18" charset="0"/>
                                </a:rPr>
                              </m:ctrlPr>
                            </m:sSubPr>
                            <m:e>
                              <m:r>
                                <a:rPr lang="en-SG" sz="1400" i="1" kern="0" dirty="0" smtClean="0">
                                  <a:solidFill>
                                    <a:schemeClr val="dk1"/>
                                  </a:solidFill>
                                  <a:latin typeface="Cambria Math" panose="02040503050406030204" pitchFamily="18" charset="0"/>
                                </a:rPr>
                                <m:t>𝑓</m:t>
                              </m:r>
                            </m:e>
                            <m:sub>
                              <m:r>
                                <a:rPr lang="en-SG" sz="1400" i="1" kern="0" dirty="0" smtClean="0">
                                  <a:solidFill>
                                    <a:schemeClr val="dk1"/>
                                  </a:solidFill>
                                  <a:latin typeface="Cambria Math" panose="02040503050406030204" pitchFamily="18" charset="0"/>
                                </a:rPr>
                                <m:t>𝑖</m:t>
                              </m:r>
                              <m:r>
                                <a:rPr lang="en-SG" sz="1400" i="0" kern="0" dirty="0" smtClean="0">
                                  <a:solidFill>
                                    <a:schemeClr val="dk1"/>
                                  </a:solidFill>
                                  <a:latin typeface="Cambria Math" panose="02040503050406030204" pitchFamily="18" charset="0"/>
                                </a:rPr>
                                <m:t>,</m:t>
                              </m:r>
                              <m:r>
                                <a:rPr lang="en-SG" sz="1400" i="1" kern="0" dirty="0" smtClean="0">
                                  <a:solidFill>
                                    <a:schemeClr val="dk1"/>
                                  </a:solidFill>
                                  <a:latin typeface="Cambria Math" panose="02040503050406030204" pitchFamily="18" charset="0"/>
                                </a:rPr>
                                <m:t>𝑗</m:t>
                              </m:r>
                            </m:sub>
                          </m:sSub>
                        </m:e>
                      </m:d>
                      <m:r>
                        <a:rPr lang="en-SG" sz="1400" i="1" kern="0" dirty="0" smtClean="0">
                          <a:solidFill>
                            <a:schemeClr val="dk1"/>
                          </a:solidFill>
                          <a:latin typeface="Cambria Math" panose="02040503050406030204" pitchFamily="18" charset="0"/>
                        </a:rPr>
                        <m:t>𝑥</m:t>
                      </m:r>
                      <m:d>
                        <m:dPr>
                          <m:ctrlPr>
                            <a:rPr lang="en-SG" sz="1400" i="1" kern="0" dirty="0" smtClean="0">
                              <a:solidFill>
                                <a:schemeClr val="dk1"/>
                              </a:solidFill>
                              <a:latin typeface="Cambria Math" panose="02040503050406030204" pitchFamily="18" charset="0"/>
                            </a:rPr>
                          </m:ctrlPr>
                        </m:dPr>
                        <m:e>
                          <m:r>
                            <a:rPr lang="en-SG" sz="1400" i="0" kern="0" dirty="0" smtClean="0">
                              <a:solidFill>
                                <a:schemeClr val="dk1"/>
                              </a:solidFill>
                              <a:latin typeface="Cambria Math" panose="02040503050406030204" pitchFamily="18" charset="0"/>
                            </a:rPr>
                            <m:t>ⅈⅆ</m:t>
                          </m:r>
                          <m:sSub>
                            <m:sSubPr>
                              <m:ctrlPr>
                                <a:rPr lang="en-SG" sz="1400" i="1" kern="0" dirty="0" smtClean="0">
                                  <a:solidFill>
                                    <a:schemeClr val="dk1"/>
                                  </a:solidFill>
                                  <a:latin typeface="Cambria Math" panose="02040503050406030204" pitchFamily="18" charset="0"/>
                                </a:rPr>
                              </m:ctrlPr>
                            </m:sSubPr>
                            <m:e>
                              <m:r>
                                <a:rPr lang="en-SG" sz="1400" i="1" kern="0" dirty="0" smtClean="0">
                                  <a:solidFill>
                                    <a:schemeClr val="dk1"/>
                                  </a:solidFill>
                                  <a:latin typeface="Cambria Math" panose="02040503050406030204" pitchFamily="18" charset="0"/>
                                </a:rPr>
                                <m:t>𝑓</m:t>
                              </m:r>
                            </m:e>
                            <m:sub>
                              <m:r>
                                <a:rPr lang="en-SG" sz="1400" i="1" kern="0" dirty="0" smtClean="0">
                                  <a:solidFill>
                                    <a:schemeClr val="dk1"/>
                                  </a:solidFill>
                                  <a:latin typeface="Cambria Math" panose="02040503050406030204" pitchFamily="18" charset="0"/>
                                </a:rPr>
                                <m:t>𝑖</m:t>
                              </m:r>
                            </m:sub>
                          </m:sSub>
                        </m:e>
                      </m:d>
                    </m:oMath>
                  </m:oMathPara>
                </a14:m>
                <a:endParaRPr lang="en-SG" sz="1400" kern="0" dirty="0">
                  <a:latin typeface="Arial" panose="020B0604020202020204" pitchFamily="34" charset="0"/>
                  <a:ea typeface="Verdana" pitchFamily="34" charset="0"/>
                  <a:cs typeface="Arial" panose="020B0604020202020204" pitchFamily="34" charset="0"/>
                </a:endParaRPr>
              </a:p>
            </p:txBody>
          </p:sp>
        </mc:Choice>
        <mc:Fallback>
          <p:sp>
            <p:nvSpPr>
              <p:cNvPr id="11" name="TextBox 10">
                <a:extLst>
                  <a:ext uri="{FF2B5EF4-FFF2-40B4-BE49-F238E27FC236}">
                    <a16:creationId xmlns:a16="http://schemas.microsoft.com/office/drawing/2014/main" id="{5D3ED8D6-9A32-4FDB-B926-044EA4402D95}"/>
                  </a:ext>
                </a:extLst>
              </p:cNvPr>
              <p:cNvSpPr txBox="1">
                <a:spLocks noRot="1" noChangeAspect="1" noMove="1" noResize="1" noEditPoints="1" noAdjustHandles="1" noChangeArrowheads="1" noChangeShapeType="1" noTextEdit="1"/>
              </p:cNvSpPr>
              <p:nvPr/>
            </p:nvSpPr>
            <p:spPr bwMode="auto">
              <a:xfrm>
                <a:off x="683333" y="3102984"/>
                <a:ext cx="1868567" cy="286617"/>
              </a:xfrm>
              <a:prstGeom prst="rect">
                <a:avLst/>
              </a:prstGeom>
              <a:blipFill>
                <a:blip r:embed="rId6"/>
                <a:stretch>
                  <a:fillRect b="-6383"/>
                </a:stretch>
              </a:blipFill>
              <a:ln w="9525">
                <a:noFill/>
                <a:miter lim="800000"/>
                <a:headEnd/>
                <a:tailEnd/>
              </a:ln>
              <a:effectLst/>
            </p:spPr>
            <p:txBody>
              <a:bodyPr/>
              <a:lstStyle/>
              <a:p>
                <a:r>
                  <a:rPr lang="en-SG">
                    <a:noFill/>
                  </a:rPr>
                  <a:t> </a:t>
                </a:r>
              </a:p>
            </p:txBody>
          </p:sp>
        </mc:Fallback>
      </mc:AlternateContent>
      <mc:AlternateContent xmlns:mc="http://schemas.openxmlformats.org/markup-compatibility/2006">
        <mc:Choice xmlns:a14="http://schemas.microsoft.com/office/drawing/2010/main" Requires="a14">
          <p:sp>
            <p:nvSpPr>
              <p:cNvPr id="12" name="TextBox 11">
                <a:extLst>
                  <a:ext uri="{FF2B5EF4-FFF2-40B4-BE49-F238E27FC236}">
                    <a16:creationId xmlns:a16="http://schemas.microsoft.com/office/drawing/2014/main" id="{83007F62-2E7F-4446-BAB8-EB79608EF9EF}"/>
                  </a:ext>
                </a:extLst>
              </p:cNvPr>
              <p:cNvSpPr txBox="1"/>
              <p:nvPr/>
            </p:nvSpPr>
            <p:spPr bwMode="auto">
              <a:xfrm>
                <a:off x="2551898" y="2449465"/>
                <a:ext cx="2376475" cy="2165978"/>
              </a:xfrm>
              <a:prstGeom prst="rect">
                <a:avLst/>
              </a:prstGeom>
              <a:noFill/>
              <a:ln w="9525">
                <a:noFill/>
                <a:miter lim="800000"/>
                <a:headEnd/>
                <a:tailEnd/>
              </a:ln>
              <a:effectLst/>
            </p:spPr>
            <p:txBody>
              <a:bodyPr wrap="square" lIns="0" tIns="0" rIns="0" bIns="0" rtlCol="0" anchor="ctr" anchorCtr="0">
                <a:spAutoFit/>
              </a:bodyPr>
              <a:lstStyle/>
              <a:p>
                <a:pPr marL="285750" marR="0" indent="-285750" defTabSz="914400" eaLnBrk="0" fontAlgn="auto" latinLnBrk="0" hangingPunct="0">
                  <a:spcBef>
                    <a:spcPts val="0"/>
                  </a:spcBef>
                  <a:spcAft>
                    <a:spcPts val="300"/>
                  </a:spcAft>
                  <a:buClr>
                    <a:schemeClr val="accent1"/>
                  </a:buClr>
                  <a:buSzTx/>
                  <a:buFont typeface="Arial" panose="020B0604020202020204" pitchFamily="34" charset="0"/>
                  <a:buChar char="›"/>
                  <a:tabLst/>
                </a:pPr>
                <a:r>
                  <a:rPr lang="en-SG" sz="1400" kern="0" dirty="0">
                    <a:solidFill>
                      <a:schemeClr val="dk1"/>
                    </a:solidFill>
                    <a:latin typeface="Arial" panose="020B0604020202020204" pitchFamily="34" charset="0"/>
                    <a:ea typeface="Verdana" pitchFamily="34" charset="0"/>
                    <a:cs typeface="Arial" panose="020B0604020202020204" pitchFamily="34" charset="0"/>
                  </a:rPr>
                  <a:t>n = Total number of docs</a:t>
                </a:r>
              </a:p>
              <a:p>
                <a:pPr marL="285750" marR="0" indent="-285750" defTabSz="914400" eaLnBrk="0" fontAlgn="auto" latinLnBrk="0" hangingPunct="0">
                  <a:spcBef>
                    <a:spcPts val="0"/>
                  </a:spcBef>
                  <a:spcAft>
                    <a:spcPts val="300"/>
                  </a:spcAft>
                  <a:buClr>
                    <a:schemeClr val="accent1"/>
                  </a:buClr>
                  <a:buSzTx/>
                  <a:buFont typeface="Arial" panose="020B0604020202020204" pitchFamily="34" charset="0"/>
                  <a:buChar char="›"/>
                  <a:tabLst/>
                </a:pPr>
                <a14:m>
                  <m:oMath xmlns:m="http://schemas.openxmlformats.org/officeDocument/2006/math">
                    <m:r>
                      <a:rPr lang="en-SG" sz="1400" kern="0" dirty="0" smtClean="0">
                        <a:solidFill>
                          <a:schemeClr val="dk1"/>
                        </a:solidFill>
                        <a:latin typeface="Cambria Math" panose="02040503050406030204" pitchFamily="18" charset="0"/>
                      </a:rPr>
                      <m:t>ⅆ</m:t>
                    </m:r>
                    <m:sSub>
                      <m:sSubPr>
                        <m:ctrlPr>
                          <a:rPr lang="en-SG" sz="1400" i="1" kern="0" dirty="0" smtClean="0">
                            <a:solidFill>
                              <a:schemeClr val="dk1"/>
                            </a:solidFill>
                            <a:latin typeface="Cambria Math" panose="02040503050406030204" pitchFamily="18" charset="0"/>
                          </a:rPr>
                        </m:ctrlPr>
                      </m:sSubPr>
                      <m:e>
                        <m:r>
                          <a:rPr lang="en-SG" sz="1400" i="1" kern="0" dirty="0">
                            <a:solidFill>
                              <a:schemeClr val="dk1"/>
                            </a:solidFill>
                            <a:latin typeface="Cambria Math" panose="02040503050406030204" pitchFamily="18" charset="0"/>
                          </a:rPr>
                          <m:t>𝑓</m:t>
                        </m:r>
                      </m:e>
                      <m:sub>
                        <m:r>
                          <a:rPr lang="en-SG" sz="1400" i="1" kern="0" dirty="0">
                            <a:solidFill>
                              <a:schemeClr val="dk1"/>
                            </a:solidFill>
                            <a:latin typeface="Cambria Math" panose="02040503050406030204" pitchFamily="18" charset="0"/>
                          </a:rPr>
                          <m:t>𝑖</m:t>
                        </m:r>
                      </m:sub>
                    </m:sSub>
                  </m:oMath>
                </a14:m>
                <a:r>
                  <a:rPr lang="en-SG" sz="1400" kern="0" dirty="0">
                    <a:solidFill>
                      <a:schemeClr val="dk1"/>
                    </a:solidFill>
                    <a:latin typeface="Arial" panose="020B0604020202020204" pitchFamily="34" charset="0"/>
                    <a:ea typeface="Verdana" pitchFamily="34" charset="0"/>
                    <a:cs typeface="Arial" panose="020B0604020202020204" pitchFamily="34" charset="0"/>
                  </a:rPr>
                  <a:t> = no. of docs containing term I</a:t>
                </a:r>
              </a:p>
              <a:p>
                <a:pPr marL="285750" marR="0" indent="-285750" defTabSz="914400" eaLnBrk="0" fontAlgn="auto" latinLnBrk="0" hangingPunct="0">
                  <a:spcBef>
                    <a:spcPts val="0"/>
                  </a:spcBef>
                  <a:spcAft>
                    <a:spcPts val="300"/>
                  </a:spcAft>
                  <a:buClr>
                    <a:schemeClr val="accent1"/>
                  </a:buClr>
                  <a:buSzTx/>
                  <a:buFont typeface="Arial" panose="020B0604020202020204" pitchFamily="34" charset="0"/>
                  <a:buChar char="›"/>
                  <a:tabLst/>
                </a:pPr>
                <a14:m>
                  <m:oMath xmlns:m="http://schemas.openxmlformats.org/officeDocument/2006/math">
                    <m:r>
                      <m:rPr>
                        <m:sty m:val="p"/>
                      </m:rPr>
                      <a:rPr lang="en-SG" sz="1400" b="0" i="0" kern="0" dirty="0" smtClean="0">
                        <a:solidFill>
                          <a:schemeClr val="dk1"/>
                        </a:solidFill>
                        <a:latin typeface="Cambria Math" panose="02040503050406030204" pitchFamily="18" charset="0"/>
                      </a:rPr>
                      <m:t>i</m:t>
                    </m:r>
                    <m:r>
                      <a:rPr lang="en-SG" sz="1400" kern="0" dirty="0" smtClean="0">
                        <a:solidFill>
                          <a:schemeClr val="dk1"/>
                        </a:solidFill>
                        <a:latin typeface="Cambria Math" panose="02040503050406030204" pitchFamily="18" charset="0"/>
                      </a:rPr>
                      <m:t>ⅆ</m:t>
                    </m:r>
                    <m:sSub>
                      <m:sSubPr>
                        <m:ctrlPr>
                          <a:rPr lang="en-SG" sz="1400" i="1" kern="0" dirty="0" smtClean="0">
                            <a:solidFill>
                              <a:schemeClr val="dk1"/>
                            </a:solidFill>
                            <a:latin typeface="Cambria Math" panose="02040503050406030204" pitchFamily="18" charset="0"/>
                          </a:rPr>
                        </m:ctrlPr>
                      </m:sSubPr>
                      <m:e>
                        <m:r>
                          <a:rPr lang="en-SG" sz="1400" i="1" kern="0" dirty="0">
                            <a:solidFill>
                              <a:schemeClr val="dk1"/>
                            </a:solidFill>
                            <a:latin typeface="Cambria Math" panose="02040503050406030204" pitchFamily="18" charset="0"/>
                          </a:rPr>
                          <m:t>𝑓</m:t>
                        </m:r>
                      </m:e>
                      <m:sub>
                        <m:r>
                          <a:rPr lang="en-SG" sz="1400" i="1" kern="0" dirty="0">
                            <a:solidFill>
                              <a:schemeClr val="dk1"/>
                            </a:solidFill>
                            <a:latin typeface="Cambria Math" panose="02040503050406030204" pitchFamily="18" charset="0"/>
                          </a:rPr>
                          <m:t>𝑖</m:t>
                        </m:r>
                      </m:sub>
                    </m:sSub>
                  </m:oMath>
                </a14:m>
                <a:r>
                  <a:rPr lang="en-SG" sz="1400" kern="0" dirty="0">
                    <a:solidFill>
                      <a:schemeClr val="dk1"/>
                    </a:solidFill>
                    <a:latin typeface="Arial" panose="020B0604020202020204" pitchFamily="34" charset="0"/>
                    <a:ea typeface="Verdana" pitchFamily="34" charset="0"/>
                    <a:cs typeface="Arial" panose="020B0604020202020204" pitchFamily="34" charset="0"/>
                  </a:rPr>
                  <a:t> = IDF score for term i</a:t>
                </a:r>
              </a:p>
              <a:p>
                <a:pPr marL="285750" marR="0" indent="-285750" defTabSz="914400" eaLnBrk="0" fontAlgn="auto" latinLnBrk="0" hangingPunct="0">
                  <a:spcBef>
                    <a:spcPts val="0"/>
                  </a:spcBef>
                  <a:spcAft>
                    <a:spcPts val="300"/>
                  </a:spcAft>
                  <a:buClr>
                    <a:schemeClr val="accent1"/>
                  </a:buClr>
                  <a:buSzTx/>
                  <a:buFont typeface="Arial" panose="020B0604020202020204" pitchFamily="34" charset="0"/>
                  <a:buChar char="›"/>
                  <a:tabLst/>
                </a:pPr>
                <a14:m>
                  <m:oMath xmlns:m="http://schemas.openxmlformats.org/officeDocument/2006/math">
                    <m:r>
                      <m:rPr>
                        <m:sty m:val="p"/>
                      </m:rPr>
                      <a:rPr lang="en-SG" sz="1400" kern="0" dirty="0" smtClean="0">
                        <a:solidFill>
                          <a:schemeClr val="dk1"/>
                        </a:solidFill>
                        <a:latin typeface="Cambria Math" panose="02040503050406030204" pitchFamily="18" charset="0"/>
                      </a:rPr>
                      <m:t>t</m:t>
                    </m:r>
                    <m:sSub>
                      <m:sSubPr>
                        <m:ctrlPr>
                          <a:rPr lang="en-SG" sz="1400" i="1" kern="0" dirty="0" smtClean="0">
                            <a:solidFill>
                              <a:schemeClr val="dk1"/>
                            </a:solidFill>
                            <a:latin typeface="Cambria Math" panose="02040503050406030204" pitchFamily="18" charset="0"/>
                          </a:rPr>
                        </m:ctrlPr>
                      </m:sSubPr>
                      <m:e>
                        <m:r>
                          <a:rPr lang="en-SG" sz="1400" i="1" kern="0" dirty="0">
                            <a:solidFill>
                              <a:schemeClr val="dk1"/>
                            </a:solidFill>
                            <a:latin typeface="Cambria Math" panose="02040503050406030204" pitchFamily="18" charset="0"/>
                          </a:rPr>
                          <m:t>𝑓</m:t>
                        </m:r>
                      </m:e>
                      <m:sub>
                        <m:r>
                          <a:rPr lang="en-SG" sz="1400" i="1" kern="0" dirty="0" smtClean="0">
                            <a:solidFill>
                              <a:schemeClr val="dk1"/>
                            </a:solidFill>
                            <a:latin typeface="Cambria Math" panose="02040503050406030204" pitchFamily="18" charset="0"/>
                          </a:rPr>
                          <m:t>𝑖</m:t>
                        </m:r>
                        <m:r>
                          <a:rPr lang="en-SG" sz="1400" b="0" i="1" kern="0" dirty="0" smtClean="0">
                            <a:solidFill>
                              <a:schemeClr val="dk1"/>
                            </a:solidFill>
                            <a:latin typeface="Cambria Math" panose="02040503050406030204" pitchFamily="18" charset="0"/>
                          </a:rPr>
                          <m:t>,</m:t>
                        </m:r>
                        <m:r>
                          <a:rPr lang="en-SG" sz="1400" b="0" i="1" kern="0" dirty="0" smtClean="0">
                            <a:solidFill>
                              <a:schemeClr val="dk1"/>
                            </a:solidFill>
                            <a:latin typeface="Cambria Math" panose="02040503050406030204" pitchFamily="18" charset="0"/>
                          </a:rPr>
                          <m:t>𝑗</m:t>
                        </m:r>
                      </m:sub>
                    </m:sSub>
                  </m:oMath>
                </a14:m>
                <a:r>
                  <a:rPr lang="en-SG" sz="1400" kern="0" dirty="0">
                    <a:solidFill>
                      <a:schemeClr val="dk1"/>
                    </a:solidFill>
                    <a:latin typeface="Arial" panose="020B0604020202020204" pitchFamily="34" charset="0"/>
                    <a:ea typeface="Verdana" pitchFamily="34" charset="0"/>
                    <a:cs typeface="Arial" panose="020B0604020202020204" pitchFamily="34" charset="0"/>
                  </a:rPr>
                  <a:t> = term frequency for term i in doc j</a:t>
                </a:r>
              </a:p>
              <a:p>
                <a:pPr marL="285750" marR="0" indent="-285750" defTabSz="914400" eaLnBrk="0" fontAlgn="auto" latinLnBrk="0" hangingPunct="0">
                  <a:spcBef>
                    <a:spcPts val="0"/>
                  </a:spcBef>
                  <a:spcAft>
                    <a:spcPts val="300"/>
                  </a:spcAft>
                  <a:buClr>
                    <a:schemeClr val="accent1"/>
                  </a:buClr>
                  <a:buSzTx/>
                  <a:buFont typeface="Arial" panose="020B0604020202020204" pitchFamily="34" charset="0"/>
                  <a:buChar char="›"/>
                  <a:tabLst/>
                </a:pPr>
                <a14:m>
                  <m:oMath xmlns:m="http://schemas.openxmlformats.org/officeDocument/2006/math">
                    <m:sSub>
                      <m:sSubPr>
                        <m:ctrlPr>
                          <a:rPr lang="en-SG" sz="1400" i="1" kern="0" dirty="0" smtClean="0">
                            <a:solidFill>
                              <a:schemeClr val="dk1"/>
                            </a:solidFill>
                            <a:latin typeface="Cambria Math" panose="02040503050406030204" pitchFamily="18" charset="0"/>
                          </a:rPr>
                        </m:ctrlPr>
                      </m:sSubPr>
                      <m:e>
                        <m:r>
                          <a:rPr lang="en-SG" sz="1400" i="1" kern="0" dirty="0">
                            <a:solidFill>
                              <a:schemeClr val="dk1"/>
                            </a:solidFill>
                            <a:latin typeface="Cambria Math" panose="02040503050406030204" pitchFamily="18" charset="0"/>
                          </a:rPr>
                          <m:t>𝑤</m:t>
                        </m:r>
                      </m:e>
                      <m:sub>
                        <m:r>
                          <a:rPr lang="en-SG" sz="1400" i="1" kern="0" dirty="0" smtClean="0">
                            <a:solidFill>
                              <a:schemeClr val="dk1"/>
                            </a:solidFill>
                            <a:latin typeface="Cambria Math" panose="02040503050406030204" pitchFamily="18" charset="0"/>
                          </a:rPr>
                          <m:t>𝑖</m:t>
                        </m:r>
                        <m:r>
                          <a:rPr lang="en-SG" sz="1400" kern="0" dirty="0" smtClean="0">
                            <a:solidFill>
                              <a:schemeClr val="dk1"/>
                            </a:solidFill>
                            <a:latin typeface="Cambria Math" panose="02040503050406030204" pitchFamily="18" charset="0"/>
                          </a:rPr>
                          <m:t>,</m:t>
                        </m:r>
                        <m:r>
                          <a:rPr lang="en-SG" sz="1400" i="1" kern="0" dirty="0">
                            <a:solidFill>
                              <a:schemeClr val="dk1"/>
                            </a:solidFill>
                            <a:latin typeface="Cambria Math" panose="02040503050406030204" pitchFamily="18" charset="0"/>
                          </a:rPr>
                          <m:t>𝑗</m:t>
                        </m:r>
                      </m:sub>
                    </m:sSub>
                  </m:oMath>
                </a14:m>
                <a:r>
                  <a:rPr lang="en-SG" sz="1400" kern="0" dirty="0">
                    <a:solidFill>
                      <a:schemeClr val="dk1"/>
                    </a:solidFill>
                    <a:latin typeface="Arial" panose="020B0604020202020204" pitchFamily="34" charset="0"/>
                    <a:ea typeface="Verdana" pitchFamily="34" charset="0"/>
                    <a:cs typeface="Arial" panose="020B0604020202020204" pitchFamily="34" charset="0"/>
                  </a:rPr>
                  <a:t> = TF-IDF score for term i in document j</a:t>
                </a:r>
              </a:p>
              <a:p>
                <a:pPr marL="285750" marR="0" indent="-285750" defTabSz="914400" eaLnBrk="0" fontAlgn="auto" latinLnBrk="0" hangingPunct="0">
                  <a:spcBef>
                    <a:spcPts val="0"/>
                  </a:spcBef>
                  <a:spcAft>
                    <a:spcPts val="300"/>
                  </a:spcAft>
                  <a:buClr>
                    <a:schemeClr val="accent1"/>
                  </a:buClr>
                  <a:buSzTx/>
                  <a:buFont typeface="Arial" panose="020B0604020202020204" pitchFamily="34" charset="0"/>
                  <a:buChar char="›"/>
                  <a:tabLst/>
                </a:pPr>
                <a:endParaRPr lang="en-SG" sz="1400" kern="0" dirty="0">
                  <a:latin typeface="Arial" panose="020B0604020202020204" pitchFamily="34" charset="0"/>
                  <a:ea typeface="Verdana" pitchFamily="34" charset="0"/>
                  <a:cs typeface="Arial" panose="020B0604020202020204" pitchFamily="34" charset="0"/>
                </a:endParaRPr>
              </a:p>
            </p:txBody>
          </p:sp>
        </mc:Choice>
        <mc:Fallback>
          <p:sp>
            <p:nvSpPr>
              <p:cNvPr id="12" name="TextBox 11">
                <a:extLst>
                  <a:ext uri="{FF2B5EF4-FFF2-40B4-BE49-F238E27FC236}">
                    <a16:creationId xmlns:a16="http://schemas.microsoft.com/office/drawing/2014/main" id="{83007F62-2E7F-4446-BAB8-EB79608EF9EF}"/>
                  </a:ext>
                </a:extLst>
              </p:cNvPr>
              <p:cNvSpPr txBox="1">
                <a:spLocks noRot="1" noChangeAspect="1" noMove="1" noResize="1" noEditPoints="1" noAdjustHandles="1" noChangeArrowheads="1" noChangeShapeType="1" noTextEdit="1"/>
              </p:cNvSpPr>
              <p:nvPr/>
            </p:nvSpPr>
            <p:spPr bwMode="auto">
              <a:xfrm>
                <a:off x="2551898" y="2449465"/>
                <a:ext cx="2376475" cy="2165978"/>
              </a:xfrm>
              <a:prstGeom prst="rect">
                <a:avLst/>
              </a:prstGeom>
              <a:blipFill>
                <a:blip r:embed="rId7"/>
                <a:stretch>
                  <a:fillRect l="-4370" t="-2254" r="-2057"/>
                </a:stretch>
              </a:blipFill>
              <a:ln w="9525">
                <a:noFill/>
                <a:miter lim="800000"/>
                <a:headEnd/>
                <a:tailEnd/>
              </a:ln>
              <a:effectLst/>
            </p:spPr>
            <p:txBody>
              <a:bodyPr/>
              <a:lstStyle/>
              <a:p>
                <a:r>
                  <a:rPr lang="en-SG">
                    <a:noFill/>
                  </a:rPr>
                  <a:t> </a:t>
                </a:r>
              </a:p>
            </p:txBody>
          </p:sp>
        </mc:Fallback>
      </mc:AlternateContent>
      <p:pic>
        <p:nvPicPr>
          <p:cNvPr id="13" name="Picture 12">
            <a:extLst>
              <a:ext uri="{FF2B5EF4-FFF2-40B4-BE49-F238E27FC236}">
                <a16:creationId xmlns:a16="http://schemas.microsoft.com/office/drawing/2014/main" id="{0D1D4F28-1913-4318-9DED-48A1041BE4DC}"/>
              </a:ext>
            </a:extLst>
          </p:cNvPr>
          <p:cNvPicPr>
            <a:picLocks noChangeAspect="1"/>
          </p:cNvPicPr>
          <p:nvPr/>
        </p:nvPicPr>
        <p:blipFill>
          <a:blip r:embed="rId8"/>
          <a:stretch>
            <a:fillRect/>
          </a:stretch>
        </p:blipFill>
        <p:spPr>
          <a:xfrm>
            <a:off x="5059691" y="2374859"/>
            <a:ext cx="3701959" cy="545339"/>
          </a:xfrm>
          <a:prstGeom prst="rect">
            <a:avLst/>
          </a:prstGeom>
        </p:spPr>
      </p:pic>
      <p:sp>
        <p:nvSpPr>
          <p:cNvPr id="14" name="TextBox 13">
            <a:extLst>
              <a:ext uri="{FF2B5EF4-FFF2-40B4-BE49-F238E27FC236}">
                <a16:creationId xmlns:a16="http://schemas.microsoft.com/office/drawing/2014/main" id="{48EAF73B-F61D-41DD-B845-75C134AC8216}"/>
              </a:ext>
            </a:extLst>
          </p:cNvPr>
          <p:cNvSpPr txBox="1"/>
          <p:nvPr/>
        </p:nvSpPr>
        <p:spPr bwMode="auto">
          <a:xfrm>
            <a:off x="5650420" y="2999185"/>
            <a:ext cx="2520504" cy="212076"/>
          </a:xfrm>
          <a:prstGeom prst="rect">
            <a:avLst/>
          </a:prstGeom>
          <a:noFill/>
          <a:ln w="9525">
            <a:noFill/>
            <a:miter lim="800000"/>
            <a:headEnd/>
            <a:tailEnd/>
          </a:ln>
          <a:effectLst/>
        </p:spPr>
        <p:txBody>
          <a:bodyPr wrap="square" lIns="0" tIns="0" rIns="0" bIns="0" rtlCol="0" anchor="ctr" anchorCtr="0">
            <a:spAutoFit/>
          </a:bodyPr>
          <a:lstStyle/>
          <a:p>
            <a:pPr marR="0" defTabSz="914400" eaLnBrk="0" fontAlgn="auto" latinLnBrk="0" hangingPunct="0">
              <a:spcBef>
                <a:spcPts val="0"/>
              </a:spcBef>
              <a:spcAft>
                <a:spcPts val="300"/>
              </a:spcAft>
              <a:buClr>
                <a:schemeClr val="accent1"/>
              </a:buClr>
              <a:buSzTx/>
              <a:tabLst/>
            </a:pPr>
            <a:r>
              <a:rPr lang="en-US" sz="1400" kern="0" dirty="0">
                <a:solidFill>
                  <a:schemeClr val="dk1"/>
                </a:solidFill>
                <a:latin typeface="Arial" panose="020B0604020202020204" pitchFamily="34" charset="0"/>
                <a:ea typeface="Verdana" pitchFamily="34" charset="0"/>
                <a:cs typeface="Arial" panose="020B0604020202020204" pitchFamily="34" charset="0"/>
              </a:rPr>
              <a:t>Here, n-gram range = (1,3)</a:t>
            </a:r>
            <a:endParaRPr lang="en-SG" sz="1400" kern="0" dirty="0">
              <a:solidFill>
                <a:schemeClr val="dk1"/>
              </a:solidFill>
              <a:latin typeface="Arial" panose="020B0604020202020204" pitchFamily="34" charset="0"/>
              <a:ea typeface="Verdana" pitchFamily="34" charset="0"/>
              <a:cs typeface="Arial" panose="020B0604020202020204" pitchFamily="34" charset="0"/>
            </a:endParaRPr>
          </a:p>
        </p:txBody>
      </p:sp>
      <p:sp>
        <p:nvSpPr>
          <p:cNvPr id="15" name="TextBox 14">
            <a:extLst>
              <a:ext uri="{FF2B5EF4-FFF2-40B4-BE49-F238E27FC236}">
                <a16:creationId xmlns:a16="http://schemas.microsoft.com/office/drawing/2014/main" id="{22784755-D782-4DA0-AB76-2CF0A5761114}"/>
              </a:ext>
            </a:extLst>
          </p:cNvPr>
          <p:cNvSpPr txBox="1"/>
          <p:nvPr/>
        </p:nvSpPr>
        <p:spPr bwMode="auto">
          <a:xfrm>
            <a:off x="5148224" y="3265383"/>
            <a:ext cx="3528704" cy="1077218"/>
          </a:xfrm>
          <a:prstGeom prst="rect">
            <a:avLst/>
          </a:prstGeom>
          <a:noFill/>
          <a:ln w="9525">
            <a:noFill/>
            <a:miter lim="800000"/>
            <a:headEnd/>
            <a:tailEnd/>
          </a:ln>
          <a:effectLst/>
        </p:spPr>
        <p:txBody>
          <a:bodyPr wrap="square" lIns="0" tIns="0" rIns="0" bIns="0" rtlCol="0" anchor="ctr" anchorCtr="0">
            <a:spAutoFit/>
          </a:bodyPr>
          <a:lstStyle/>
          <a:p>
            <a:pPr marR="0" defTabSz="914400" eaLnBrk="0" fontAlgn="auto" latinLnBrk="0" hangingPunct="0">
              <a:spcBef>
                <a:spcPts val="0"/>
              </a:spcBef>
              <a:spcAft>
                <a:spcPts val="300"/>
              </a:spcAft>
              <a:buClr>
                <a:schemeClr val="accent1"/>
              </a:buClr>
              <a:buSzTx/>
              <a:tabLst/>
            </a:pPr>
            <a:r>
              <a:rPr lang="en-US" sz="1400" kern="0" dirty="0">
                <a:solidFill>
                  <a:schemeClr val="hlink"/>
                </a:solidFill>
                <a:latin typeface="Arial" panose="020B0604020202020204" pitchFamily="34" charset="0"/>
                <a:ea typeface="Verdana" pitchFamily="34" charset="0"/>
                <a:cs typeface="Arial" panose="020B0604020202020204" pitchFamily="34" charset="0"/>
              </a:rPr>
              <a:t>Note: </a:t>
            </a:r>
            <a:r>
              <a:rPr lang="en-GB" sz="1400" dirty="0">
                <a:solidFill>
                  <a:schemeClr val="hlink"/>
                </a:solidFill>
              </a:rPr>
              <a:t>N-grams are continuous sequences of words or symbols or tokens in a document. In technical terms, they can be defined as the neighbouring sequences of items in a document.</a:t>
            </a:r>
            <a:endParaRPr lang="en-SG" sz="1400" kern="0" dirty="0">
              <a:solidFill>
                <a:schemeClr val="hlink"/>
              </a:solidFill>
              <a:latin typeface="Arial" panose="020B0604020202020204" pitchFamily="34" charset="0"/>
              <a:ea typeface="Verdana" pitchFamily="34" charset="0"/>
              <a:cs typeface="Arial" panose="020B0604020202020204" pitchFamily="34" charset="0"/>
            </a:endParaRPr>
          </a:p>
        </p:txBody>
      </p:sp>
      <p:sp>
        <p:nvSpPr>
          <p:cNvPr id="16" name="Title 15">
            <a:extLst>
              <a:ext uri="{FF2B5EF4-FFF2-40B4-BE49-F238E27FC236}">
                <a16:creationId xmlns:a16="http://schemas.microsoft.com/office/drawing/2014/main" id="{815F14C1-9166-4C46-AECD-AE13D5A44A1E}"/>
              </a:ext>
            </a:extLst>
          </p:cNvPr>
          <p:cNvSpPr>
            <a:spLocks noGrp="1"/>
          </p:cNvSpPr>
          <p:nvPr>
            <p:ph type="title"/>
          </p:nvPr>
        </p:nvSpPr>
        <p:spPr/>
        <p:txBody>
          <a:bodyPr/>
          <a:lstStyle/>
          <a:p>
            <a:r>
              <a:rPr lang="en-GB" dirty="0"/>
              <a:t>Term Frequency – Inverse Document Frequency(TF-IDF) </a:t>
            </a:r>
            <a:endParaRPr lang="en-SG" dirty="0"/>
          </a:p>
        </p:txBody>
      </p:sp>
      <p:sp>
        <p:nvSpPr>
          <p:cNvPr id="20" name="Slide Number Placeholder 19">
            <a:extLst>
              <a:ext uri="{FF2B5EF4-FFF2-40B4-BE49-F238E27FC236}">
                <a16:creationId xmlns:a16="http://schemas.microsoft.com/office/drawing/2014/main" id="{4D6D8E9D-172E-4A7B-98D1-0E4AAEF6F943}"/>
              </a:ext>
            </a:extLst>
          </p:cNvPr>
          <p:cNvSpPr>
            <a:spLocks noGrp="1"/>
          </p:cNvSpPr>
          <p:nvPr>
            <p:ph type="sldNum" sz="quarter" idx="16"/>
          </p:nvPr>
        </p:nvSpPr>
        <p:spPr/>
        <p:txBody>
          <a:bodyPr/>
          <a:lstStyle/>
          <a:p>
            <a:r>
              <a:rPr lang="en-US" dirty="0"/>
              <a:t> </a:t>
            </a:r>
          </a:p>
        </p:txBody>
      </p:sp>
    </p:spTree>
    <p:extLst>
      <p:ext uri="{BB962C8B-B14F-4D97-AF65-F5344CB8AC3E}">
        <p14:creationId xmlns:p14="http://schemas.microsoft.com/office/powerpoint/2010/main" val="28193586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a:extLst>
              <a:ext uri="{FF2B5EF4-FFF2-40B4-BE49-F238E27FC236}">
                <a16:creationId xmlns:a16="http://schemas.microsoft.com/office/drawing/2014/main" id="{AEA9DC1A-0118-44FA-B3D7-818812DD65C6}"/>
              </a:ext>
            </a:extLst>
          </p:cNvPr>
          <p:cNvGraphicFramePr>
            <a:graphicFrameLocks/>
          </p:cNvGraphicFramePr>
          <p:nvPr>
            <p:extLst>
              <p:ext uri="{D42A27DB-BD31-4B8C-83A1-F6EECF244321}">
                <p14:modId xmlns:p14="http://schemas.microsoft.com/office/powerpoint/2010/main" val="3723216123"/>
              </p:ext>
            </p:extLst>
          </p:nvPr>
        </p:nvGraphicFramePr>
        <p:xfrm>
          <a:off x="250826" y="951311"/>
          <a:ext cx="3414016" cy="208476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8" name="Content Placeholder 6">
            <a:extLst>
              <a:ext uri="{FF2B5EF4-FFF2-40B4-BE49-F238E27FC236}">
                <a16:creationId xmlns:a16="http://schemas.microsoft.com/office/drawing/2014/main" id="{06A2885A-01D4-4A58-BFF9-ED0CAF2A6757}"/>
              </a:ext>
            </a:extLst>
          </p:cNvPr>
          <p:cNvGraphicFramePr>
            <a:graphicFrameLocks/>
          </p:cNvGraphicFramePr>
          <p:nvPr>
            <p:extLst>
              <p:ext uri="{D42A27DB-BD31-4B8C-83A1-F6EECF244321}">
                <p14:modId xmlns:p14="http://schemas.microsoft.com/office/powerpoint/2010/main" val="824415546"/>
              </p:ext>
            </p:extLst>
          </p:nvPr>
        </p:nvGraphicFramePr>
        <p:xfrm>
          <a:off x="4587864" y="1886457"/>
          <a:ext cx="2863705" cy="172177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9" name="Content Placeholder 6">
            <a:extLst>
              <a:ext uri="{FF2B5EF4-FFF2-40B4-BE49-F238E27FC236}">
                <a16:creationId xmlns:a16="http://schemas.microsoft.com/office/drawing/2014/main" id="{28EE1EB7-BA8B-44DD-BB49-370D6FAC7F53}"/>
              </a:ext>
            </a:extLst>
          </p:cNvPr>
          <p:cNvGraphicFramePr>
            <a:graphicFrameLocks/>
          </p:cNvGraphicFramePr>
          <p:nvPr>
            <p:extLst>
              <p:ext uri="{D42A27DB-BD31-4B8C-83A1-F6EECF244321}">
                <p14:modId xmlns:p14="http://schemas.microsoft.com/office/powerpoint/2010/main" val="2103398439"/>
              </p:ext>
            </p:extLst>
          </p:nvPr>
        </p:nvGraphicFramePr>
        <p:xfrm>
          <a:off x="1322969" y="3532448"/>
          <a:ext cx="2376885" cy="1251625"/>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pic>
        <p:nvPicPr>
          <p:cNvPr id="10" name="Graphic 9" descr="Arrow Slight curve">
            <a:extLst>
              <a:ext uri="{FF2B5EF4-FFF2-40B4-BE49-F238E27FC236}">
                <a16:creationId xmlns:a16="http://schemas.microsoft.com/office/drawing/2014/main" id="{207EC48E-775C-488D-B4B1-DA0053C23688}"/>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3621186" y="1531884"/>
            <a:ext cx="1216641" cy="1216641"/>
          </a:xfrm>
          <a:prstGeom prst="rect">
            <a:avLst/>
          </a:prstGeom>
        </p:spPr>
      </p:pic>
      <p:sp>
        <p:nvSpPr>
          <p:cNvPr id="11" name="TextBox 10">
            <a:extLst>
              <a:ext uri="{FF2B5EF4-FFF2-40B4-BE49-F238E27FC236}">
                <a16:creationId xmlns:a16="http://schemas.microsoft.com/office/drawing/2014/main" id="{E708B80B-1CCF-462D-9B33-7D682608F149}"/>
              </a:ext>
            </a:extLst>
          </p:cNvPr>
          <p:cNvSpPr txBox="1"/>
          <p:nvPr/>
        </p:nvSpPr>
        <p:spPr bwMode="auto">
          <a:xfrm>
            <a:off x="3476533" y="2384650"/>
            <a:ext cx="1129331" cy="237588"/>
          </a:xfrm>
          <a:prstGeom prst="rect">
            <a:avLst/>
          </a:prstGeom>
          <a:noFill/>
          <a:ln w="9525">
            <a:noFill/>
            <a:miter lim="800000"/>
            <a:headEnd/>
            <a:tailEnd/>
          </a:ln>
          <a:effectLst/>
        </p:spPr>
        <p:txBody>
          <a:bodyPr wrap="square" lIns="0" tIns="0" rIns="0" bIns="0" rtlCol="0" anchor="ctr" anchorCtr="0">
            <a:spAutoFit/>
          </a:bodyPr>
          <a:lstStyle/>
          <a:p>
            <a:pPr marR="0" defTabSz="914400" eaLnBrk="0" fontAlgn="auto" latinLnBrk="0" hangingPunct="0">
              <a:spcBef>
                <a:spcPts val="0"/>
              </a:spcBef>
              <a:spcAft>
                <a:spcPts val="300"/>
              </a:spcAft>
              <a:buClr>
                <a:schemeClr val="accent1"/>
              </a:buClr>
              <a:buSzTx/>
              <a:tabLst/>
            </a:pPr>
            <a:r>
              <a:rPr lang="en-SG" sz="900" kern="0" dirty="0">
                <a:solidFill>
                  <a:schemeClr val="dk1"/>
                </a:solidFill>
                <a:latin typeface="Arial" panose="020B0604020202020204" pitchFamily="34" charset="0"/>
                <a:ea typeface="Verdana" pitchFamily="34" charset="0"/>
                <a:cs typeface="Arial" panose="020B0604020202020204" pitchFamily="34" charset="0"/>
              </a:rPr>
              <a:t>Processed data for training purpose </a:t>
            </a:r>
          </a:p>
        </p:txBody>
      </p:sp>
      <p:pic>
        <p:nvPicPr>
          <p:cNvPr id="12" name="Graphic 11" descr="Arrow Straight">
            <a:extLst>
              <a:ext uri="{FF2B5EF4-FFF2-40B4-BE49-F238E27FC236}">
                <a16:creationId xmlns:a16="http://schemas.microsoft.com/office/drawing/2014/main" id="{76EBABEA-A8E7-4CC4-B4B6-AC88CE8CF766}"/>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3597350" y="3142220"/>
            <a:ext cx="1216641" cy="784301"/>
          </a:xfrm>
          <a:prstGeom prst="rect">
            <a:avLst/>
          </a:prstGeom>
        </p:spPr>
      </p:pic>
      <p:sp>
        <p:nvSpPr>
          <p:cNvPr id="13" name="TextBox 12">
            <a:extLst>
              <a:ext uri="{FF2B5EF4-FFF2-40B4-BE49-F238E27FC236}">
                <a16:creationId xmlns:a16="http://schemas.microsoft.com/office/drawing/2014/main" id="{E15F09FC-60D2-4DAD-9310-37D1BD880A40}"/>
              </a:ext>
            </a:extLst>
          </p:cNvPr>
          <p:cNvSpPr txBox="1"/>
          <p:nvPr/>
        </p:nvSpPr>
        <p:spPr bwMode="auto">
          <a:xfrm>
            <a:off x="3645602" y="3756254"/>
            <a:ext cx="1461677" cy="263987"/>
          </a:xfrm>
          <a:prstGeom prst="rect">
            <a:avLst/>
          </a:prstGeom>
          <a:noFill/>
          <a:ln w="9525">
            <a:noFill/>
            <a:miter lim="800000"/>
            <a:headEnd/>
            <a:tailEnd/>
          </a:ln>
          <a:effectLst/>
        </p:spPr>
        <p:txBody>
          <a:bodyPr wrap="square" lIns="0" tIns="0" rIns="0" bIns="0" rtlCol="0" anchor="ctr" anchorCtr="0">
            <a:spAutoFit/>
          </a:bodyPr>
          <a:lstStyle/>
          <a:p>
            <a:pPr marR="0" defTabSz="914400" eaLnBrk="0" fontAlgn="auto" latinLnBrk="0" hangingPunct="0">
              <a:spcBef>
                <a:spcPts val="0"/>
              </a:spcBef>
              <a:spcAft>
                <a:spcPts val="300"/>
              </a:spcAft>
              <a:buClr>
                <a:schemeClr val="accent1"/>
              </a:buClr>
              <a:buSzTx/>
              <a:tabLst/>
            </a:pPr>
            <a:r>
              <a:rPr lang="en-SG" sz="1000" kern="0" dirty="0">
                <a:solidFill>
                  <a:schemeClr val="dk1"/>
                </a:solidFill>
                <a:latin typeface="Arial" panose="020B0604020202020204" pitchFamily="34" charset="0"/>
                <a:ea typeface="Verdana" pitchFamily="34" charset="0"/>
                <a:cs typeface="Arial" panose="020B0604020202020204" pitchFamily="34" charset="0"/>
              </a:rPr>
              <a:t>Uses the trained model for testing purpose</a:t>
            </a:r>
          </a:p>
        </p:txBody>
      </p:sp>
      <p:sp>
        <p:nvSpPr>
          <p:cNvPr id="14" name="TextBox 13">
            <a:extLst>
              <a:ext uri="{FF2B5EF4-FFF2-40B4-BE49-F238E27FC236}">
                <a16:creationId xmlns:a16="http://schemas.microsoft.com/office/drawing/2014/main" id="{BD8FCF81-C45F-4449-AD6C-E40FFF21A010}"/>
              </a:ext>
            </a:extLst>
          </p:cNvPr>
          <p:cNvSpPr txBox="1"/>
          <p:nvPr/>
        </p:nvSpPr>
        <p:spPr bwMode="auto">
          <a:xfrm>
            <a:off x="6813931" y="2043306"/>
            <a:ext cx="2077661" cy="1408078"/>
          </a:xfrm>
          <a:prstGeom prst="rect">
            <a:avLst/>
          </a:prstGeom>
          <a:noFill/>
          <a:ln w="9525">
            <a:noFill/>
            <a:miter lim="800000"/>
            <a:headEnd/>
            <a:tailEnd/>
          </a:ln>
          <a:effectLst/>
        </p:spPr>
        <p:txBody>
          <a:bodyPr wrap="square" lIns="0" tIns="0" rIns="0" bIns="0" rtlCol="0" anchor="ctr" anchorCtr="0">
            <a:spAutoFit/>
          </a:bodyPr>
          <a:lstStyle/>
          <a:p>
            <a:pPr marL="285750" marR="0" indent="-285750" defTabSz="914400" eaLnBrk="0" fontAlgn="auto" latinLnBrk="0" hangingPunct="0">
              <a:spcBef>
                <a:spcPts val="0"/>
              </a:spcBef>
              <a:spcAft>
                <a:spcPts val="300"/>
              </a:spcAft>
              <a:buClr>
                <a:schemeClr val="accent1"/>
              </a:buClr>
              <a:buSzTx/>
              <a:buFont typeface="Arial" panose="020B0604020202020204" pitchFamily="34" charset="0"/>
              <a:buChar char="›"/>
              <a:tabLst/>
            </a:pPr>
            <a:r>
              <a:rPr lang="en-SG" sz="1400" kern="0" dirty="0">
                <a:solidFill>
                  <a:schemeClr val="dk1"/>
                </a:solidFill>
                <a:latin typeface="Arial" panose="020B0604020202020204" pitchFamily="34" charset="0"/>
                <a:ea typeface="Verdana" pitchFamily="34" charset="0"/>
                <a:cs typeface="Arial" panose="020B0604020202020204" pitchFamily="34" charset="0"/>
              </a:rPr>
              <a:t>What it contains?</a:t>
            </a:r>
          </a:p>
          <a:p>
            <a:pPr marL="342900" marR="0" indent="-342900" defTabSz="914400" eaLnBrk="0" fontAlgn="auto" latinLnBrk="0" hangingPunct="0">
              <a:spcBef>
                <a:spcPts val="0"/>
              </a:spcBef>
              <a:spcAft>
                <a:spcPts val="300"/>
              </a:spcAft>
              <a:buClr>
                <a:schemeClr val="accent1"/>
              </a:buClr>
              <a:buSzTx/>
              <a:buFont typeface="+mj-lt"/>
              <a:buAutoNum type="arabicPeriod"/>
              <a:tabLst/>
            </a:pPr>
            <a:r>
              <a:rPr lang="en-SG" sz="1400" kern="0" dirty="0">
                <a:solidFill>
                  <a:schemeClr val="dk1"/>
                </a:solidFill>
                <a:latin typeface="Arial" panose="020B0604020202020204" pitchFamily="34" charset="0"/>
                <a:ea typeface="Verdana" pitchFamily="34" charset="0"/>
                <a:cs typeface="Arial" panose="020B0604020202020204" pitchFamily="34" charset="0"/>
              </a:rPr>
              <a:t>TF-IDF vectorizer</a:t>
            </a:r>
          </a:p>
          <a:p>
            <a:pPr marL="342900" marR="0" indent="-342900" defTabSz="914400" eaLnBrk="0" fontAlgn="auto" latinLnBrk="0" hangingPunct="0">
              <a:spcBef>
                <a:spcPts val="0"/>
              </a:spcBef>
              <a:spcAft>
                <a:spcPts val="300"/>
              </a:spcAft>
              <a:buClr>
                <a:schemeClr val="accent1"/>
              </a:buClr>
              <a:buSzTx/>
              <a:buFont typeface="+mj-lt"/>
              <a:buAutoNum type="arabicPeriod"/>
              <a:tabLst/>
            </a:pPr>
            <a:r>
              <a:rPr lang="en-SG" sz="1400" kern="0" dirty="0">
                <a:solidFill>
                  <a:schemeClr val="dk1"/>
                </a:solidFill>
                <a:latin typeface="Arial" panose="020B0604020202020204" pitchFamily="34" charset="0"/>
                <a:ea typeface="Verdana" pitchFamily="34" charset="0"/>
                <a:cs typeface="Arial" panose="020B0604020202020204" pitchFamily="34" charset="0"/>
              </a:rPr>
              <a:t>Train the processed data with Sklearn LDA model</a:t>
            </a:r>
          </a:p>
          <a:p>
            <a:pPr marR="0" defTabSz="914400" eaLnBrk="0" fontAlgn="auto" latinLnBrk="0" hangingPunct="0">
              <a:spcBef>
                <a:spcPts val="0"/>
              </a:spcBef>
              <a:spcAft>
                <a:spcPts val="300"/>
              </a:spcAft>
              <a:buClr>
                <a:schemeClr val="accent1"/>
              </a:buClr>
              <a:buSzTx/>
              <a:tabLst/>
            </a:pPr>
            <a:endParaRPr lang="en-SG" sz="1400" kern="0" dirty="0">
              <a:latin typeface="Arial" panose="020B0604020202020204" pitchFamily="34" charset="0"/>
              <a:ea typeface="Verdana" pitchFamily="34" charset="0"/>
              <a:cs typeface="Arial" panose="020B0604020202020204" pitchFamily="34" charset="0"/>
            </a:endParaRPr>
          </a:p>
        </p:txBody>
      </p:sp>
      <p:sp>
        <p:nvSpPr>
          <p:cNvPr id="15" name="TextBox 14">
            <a:extLst>
              <a:ext uri="{FF2B5EF4-FFF2-40B4-BE49-F238E27FC236}">
                <a16:creationId xmlns:a16="http://schemas.microsoft.com/office/drawing/2014/main" id="{DAC36626-29BF-4A58-A1DD-D51FD6CAD0C1}"/>
              </a:ext>
            </a:extLst>
          </p:cNvPr>
          <p:cNvSpPr txBox="1"/>
          <p:nvPr/>
        </p:nvSpPr>
        <p:spPr bwMode="auto">
          <a:xfrm>
            <a:off x="6855879" y="3255261"/>
            <a:ext cx="2035712" cy="184791"/>
          </a:xfrm>
          <a:prstGeom prst="rect">
            <a:avLst/>
          </a:prstGeom>
          <a:noFill/>
          <a:ln w="9525">
            <a:noFill/>
            <a:miter lim="800000"/>
            <a:headEnd/>
            <a:tailEnd/>
          </a:ln>
          <a:effectLst/>
        </p:spPr>
        <p:txBody>
          <a:bodyPr wrap="square" lIns="0" tIns="0" rIns="0" bIns="0" rtlCol="0" anchor="ctr" anchorCtr="0">
            <a:spAutoFit/>
          </a:bodyPr>
          <a:lstStyle/>
          <a:p>
            <a:pPr marL="285750" marR="0" indent="-285750" defTabSz="914400" eaLnBrk="0" fontAlgn="auto" latinLnBrk="0" hangingPunct="0">
              <a:spcBef>
                <a:spcPts val="0"/>
              </a:spcBef>
              <a:spcAft>
                <a:spcPts val="300"/>
              </a:spcAft>
              <a:buClr>
                <a:schemeClr val="accent1"/>
              </a:buClr>
              <a:buSzTx/>
              <a:buFont typeface="Arial" panose="020B0604020202020204" pitchFamily="34" charset="0"/>
              <a:buChar char="›"/>
              <a:tabLst/>
            </a:pPr>
            <a:r>
              <a:rPr lang="en-SG" sz="1400" kern="0" dirty="0">
                <a:solidFill>
                  <a:schemeClr val="dk1"/>
                </a:solidFill>
                <a:latin typeface="Arial" panose="020B0604020202020204" pitchFamily="34" charset="0"/>
                <a:ea typeface="Verdana" pitchFamily="34" charset="0"/>
                <a:cs typeface="Arial" panose="020B0604020202020204" pitchFamily="34" charset="0"/>
              </a:rPr>
              <a:t>Along with the topics</a:t>
            </a:r>
          </a:p>
        </p:txBody>
      </p:sp>
      <p:pic>
        <p:nvPicPr>
          <p:cNvPr id="16" name="Graphic 15" descr="Arrow circle">
            <a:extLst>
              <a:ext uri="{FF2B5EF4-FFF2-40B4-BE49-F238E27FC236}">
                <a16:creationId xmlns:a16="http://schemas.microsoft.com/office/drawing/2014/main" id="{F542B1D7-1985-4CD0-8913-8F127EFB6377}"/>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7308304" y="905099"/>
            <a:ext cx="898068" cy="898068"/>
          </a:xfrm>
          <a:prstGeom prst="rect">
            <a:avLst/>
          </a:prstGeom>
        </p:spPr>
      </p:pic>
      <p:sp>
        <p:nvSpPr>
          <p:cNvPr id="17" name="Title 16">
            <a:extLst>
              <a:ext uri="{FF2B5EF4-FFF2-40B4-BE49-F238E27FC236}">
                <a16:creationId xmlns:a16="http://schemas.microsoft.com/office/drawing/2014/main" id="{765DD04C-3B8D-4158-929E-700F9B3FB552}"/>
              </a:ext>
            </a:extLst>
          </p:cNvPr>
          <p:cNvSpPr>
            <a:spLocks noGrp="1"/>
          </p:cNvSpPr>
          <p:nvPr>
            <p:ph type="title"/>
          </p:nvPr>
        </p:nvSpPr>
        <p:spPr/>
        <p:txBody>
          <a:bodyPr/>
          <a:lstStyle/>
          <a:p>
            <a:r>
              <a:rPr lang="en-SG" dirty="0"/>
              <a:t>Model Pipeline</a:t>
            </a:r>
          </a:p>
        </p:txBody>
      </p:sp>
      <p:sp>
        <p:nvSpPr>
          <p:cNvPr id="21" name="Slide Number Placeholder 20">
            <a:extLst>
              <a:ext uri="{FF2B5EF4-FFF2-40B4-BE49-F238E27FC236}">
                <a16:creationId xmlns:a16="http://schemas.microsoft.com/office/drawing/2014/main" id="{A7235D50-2851-4E7C-AE96-90DA4FA911C1}"/>
              </a:ext>
            </a:extLst>
          </p:cNvPr>
          <p:cNvSpPr>
            <a:spLocks noGrp="1"/>
          </p:cNvSpPr>
          <p:nvPr>
            <p:ph type="sldNum" sz="quarter" idx="16"/>
          </p:nvPr>
        </p:nvSpPr>
        <p:spPr/>
        <p:txBody>
          <a:bodyPr/>
          <a:lstStyle/>
          <a:p>
            <a:r>
              <a:rPr lang="en-US" dirty="0"/>
              <a:t> </a:t>
            </a:r>
          </a:p>
        </p:txBody>
      </p:sp>
      <p:sp>
        <p:nvSpPr>
          <p:cNvPr id="22" name="Arrow: Curved Right 21">
            <a:extLst>
              <a:ext uri="{FF2B5EF4-FFF2-40B4-BE49-F238E27FC236}">
                <a16:creationId xmlns:a16="http://schemas.microsoft.com/office/drawing/2014/main" id="{DD76683A-0E1C-4A3B-83F6-C9021E48B517}"/>
              </a:ext>
            </a:extLst>
          </p:cNvPr>
          <p:cNvSpPr/>
          <p:nvPr/>
        </p:nvSpPr>
        <p:spPr bwMode="auto">
          <a:xfrm>
            <a:off x="4485203" y="2085074"/>
            <a:ext cx="918177" cy="1447374"/>
          </a:xfrm>
          <a:prstGeom prst="curvedRightArrow">
            <a:avLst>
              <a:gd name="adj1" fmla="val 14750"/>
              <a:gd name="adj2" fmla="val 24903"/>
              <a:gd name="adj3" fmla="val 25000"/>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wrap="square" lIns="72000" tIns="72000" rIns="72000" bIns="72000" rtlCol="0" anchor="ctr"/>
          <a:lstStyle/>
          <a:p>
            <a:pPr algn="ctr" eaLnBrk="0" hangingPunct="0"/>
            <a:endParaRPr lang="en-SG" sz="1600" baseline="0" dirty="0">
              <a:latin typeface="+mn-lt"/>
              <a:ea typeface="+mn-ea"/>
              <a:cs typeface="+mn-cs"/>
            </a:endParaRPr>
          </a:p>
        </p:txBody>
      </p:sp>
      <p:sp>
        <p:nvSpPr>
          <p:cNvPr id="23" name="Arrow: Curved Right 22">
            <a:extLst>
              <a:ext uri="{FF2B5EF4-FFF2-40B4-BE49-F238E27FC236}">
                <a16:creationId xmlns:a16="http://schemas.microsoft.com/office/drawing/2014/main" id="{57D3F180-B45A-453B-B55D-235A04D400A1}"/>
              </a:ext>
            </a:extLst>
          </p:cNvPr>
          <p:cNvSpPr/>
          <p:nvPr/>
        </p:nvSpPr>
        <p:spPr bwMode="auto">
          <a:xfrm>
            <a:off x="404792" y="3596382"/>
            <a:ext cx="918177" cy="1123756"/>
          </a:xfrm>
          <a:prstGeom prst="curvedRightArrow">
            <a:avLst>
              <a:gd name="adj1" fmla="val 14750"/>
              <a:gd name="adj2" fmla="val 24903"/>
              <a:gd name="adj3" fmla="val 25000"/>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wrap="square" lIns="72000" tIns="72000" rIns="72000" bIns="72000" rtlCol="0" anchor="ctr"/>
          <a:lstStyle/>
          <a:p>
            <a:pPr algn="ctr" eaLnBrk="0" hangingPunct="0"/>
            <a:endParaRPr lang="en-SG" sz="1600" baseline="0" dirty="0">
              <a:latin typeface="+mn-lt"/>
              <a:ea typeface="+mn-ea"/>
              <a:cs typeface="+mn-cs"/>
            </a:endParaRPr>
          </a:p>
        </p:txBody>
      </p:sp>
    </p:spTree>
    <p:extLst>
      <p:ext uri="{BB962C8B-B14F-4D97-AF65-F5344CB8AC3E}">
        <p14:creationId xmlns:p14="http://schemas.microsoft.com/office/powerpoint/2010/main" val="23457406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4">
            <a:extLst>
              <a:ext uri="{FF2B5EF4-FFF2-40B4-BE49-F238E27FC236}">
                <a16:creationId xmlns:a16="http://schemas.microsoft.com/office/drawing/2014/main" id="{D7E2C58B-3216-4BC2-8717-6B92769B763E}"/>
              </a:ext>
            </a:extLst>
          </p:cNvPr>
          <p:cNvSpPr txBox="1">
            <a:spLocks/>
          </p:cNvSpPr>
          <p:nvPr/>
        </p:nvSpPr>
        <p:spPr>
          <a:xfrm>
            <a:off x="252208" y="951311"/>
            <a:ext cx="8566618" cy="3835005"/>
          </a:xfrm>
          <a:prstGeom prst="rect">
            <a:avLst/>
          </a:prstGeom>
        </p:spPr>
        <p:txBody>
          <a:bodyPr vert="horz" lIns="0" tIns="0" rIns="0" bIns="0" rtlCol="0">
            <a:noAutofit/>
          </a:bodyPr>
          <a:lstStyle>
            <a:lvl1pPr marL="135000" indent="-135000" algn="l" defTabSz="432000" rtl="0" eaLnBrk="1" fontAlgn="base" hangingPunct="1">
              <a:spcBef>
                <a:spcPts val="0"/>
              </a:spcBef>
              <a:spcAft>
                <a:spcPts val="0"/>
              </a:spcAft>
              <a:buClr>
                <a:schemeClr val="accent1"/>
              </a:buClr>
              <a:buSzPct val="100000"/>
              <a:buFont typeface="Arial" panose="020B0604020202020204" pitchFamily="34" charset="0"/>
              <a:buChar char="›"/>
              <a:defRPr sz="1500" baseline="0">
                <a:solidFill>
                  <a:schemeClr val="tx1"/>
                </a:solidFill>
                <a:latin typeface="+mn-lt"/>
                <a:ea typeface="+mn-ea"/>
                <a:cs typeface="+mn-cs"/>
              </a:defRPr>
            </a:lvl1pPr>
            <a:lvl2pPr marL="337500" indent="-202500" algn="l" defTabSz="432000" rtl="0" eaLnBrk="1" fontAlgn="base" hangingPunct="1">
              <a:spcBef>
                <a:spcPts val="0"/>
              </a:spcBef>
              <a:spcAft>
                <a:spcPts val="0"/>
              </a:spcAft>
              <a:buClr>
                <a:schemeClr val="accent1"/>
              </a:buClr>
              <a:buSzPct val="100000"/>
              <a:buFont typeface="Verdana" panose="020B0604030504040204" pitchFamily="34" charset="0"/>
              <a:buChar char="–"/>
              <a:defRPr sz="1500">
                <a:solidFill>
                  <a:schemeClr val="tx1"/>
                </a:solidFill>
                <a:latin typeface="+mn-lt"/>
                <a:ea typeface="+mn-ea"/>
                <a:cs typeface="+mn-cs"/>
              </a:defRPr>
            </a:lvl2pPr>
            <a:lvl3pPr marL="472500" indent="-135000" algn="l" defTabSz="432000" rtl="0" eaLnBrk="1" fontAlgn="base" hangingPunct="1">
              <a:spcBef>
                <a:spcPts val="0"/>
              </a:spcBef>
              <a:spcAft>
                <a:spcPts val="0"/>
              </a:spcAft>
              <a:buClr>
                <a:schemeClr val="accent1"/>
              </a:buClr>
              <a:buSzPct val="100000"/>
              <a:buFont typeface="Arial" panose="020B0604020202020204" pitchFamily="34" charset="0"/>
              <a:buChar char="–"/>
              <a:defRPr sz="1350" baseline="0">
                <a:solidFill>
                  <a:schemeClr val="tx1"/>
                </a:solidFill>
                <a:latin typeface="+mn-lt"/>
                <a:ea typeface="+mn-ea"/>
                <a:cs typeface="+mn-cs"/>
              </a:defRPr>
            </a:lvl3pPr>
            <a:lvl4pPr marL="602100" indent="-129600" algn="l" defTabSz="432000" rtl="0" eaLnBrk="1" fontAlgn="base" hangingPunct="1">
              <a:spcBef>
                <a:spcPts val="0"/>
              </a:spcBef>
              <a:spcAft>
                <a:spcPts val="0"/>
              </a:spcAft>
              <a:buClr>
                <a:schemeClr val="accent1"/>
              </a:buClr>
              <a:buSzPct val="100000"/>
              <a:buFont typeface="Arial" panose="020B0604020202020204" pitchFamily="34" charset="0"/>
              <a:buChar char="–"/>
              <a:defRPr sz="1200" baseline="0">
                <a:solidFill>
                  <a:schemeClr val="tx1"/>
                </a:solidFill>
                <a:latin typeface="+mn-lt"/>
                <a:ea typeface="+mn-ea"/>
                <a:cs typeface="+mn-cs"/>
              </a:defRPr>
            </a:lvl4pPr>
            <a:lvl5pPr marL="737100" indent="-135000" algn="l" defTabSz="432000" rtl="0" eaLnBrk="1" fontAlgn="base" hangingPunct="1">
              <a:spcBef>
                <a:spcPts val="0"/>
              </a:spcBef>
              <a:spcAft>
                <a:spcPts val="0"/>
              </a:spcAft>
              <a:buClr>
                <a:schemeClr val="accent1"/>
              </a:buClr>
              <a:buSzPct val="100000"/>
              <a:buFont typeface="Arial" panose="020B0604020202020204" pitchFamily="34" charset="0"/>
              <a:buChar char="–"/>
              <a:defRPr sz="1050" baseline="0">
                <a:solidFill>
                  <a:schemeClr val="tx1"/>
                </a:solidFill>
                <a:latin typeface="+mn-lt"/>
                <a:ea typeface="+mn-ea"/>
                <a:cs typeface="+mn-cs"/>
              </a:defRPr>
            </a:lvl5pPr>
            <a:lvl6pPr marL="737100" indent="-135000" algn="l" defTabSz="432000" rtl="0" eaLnBrk="1" fontAlgn="base" hangingPunct="1">
              <a:spcBef>
                <a:spcPts val="0"/>
              </a:spcBef>
              <a:spcAft>
                <a:spcPts val="0"/>
              </a:spcAft>
              <a:buClr>
                <a:schemeClr val="accent1"/>
              </a:buClr>
              <a:buFont typeface="Arial" panose="020B0604020202020204" pitchFamily="34" charset="0"/>
              <a:buChar char="–"/>
              <a:defRPr sz="1050" baseline="0">
                <a:solidFill>
                  <a:schemeClr val="tx1"/>
                </a:solidFill>
                <a:latin typeface="+mn-lt"/>
                <a:cs typeface="+mn-cs"/>
              </a:defRPr>
            </a:lvl6pPr>
            <a:lvl7pPr marL="737100" indent="-135000" algn="l" defTabSz="432000" rtl="0" eaLnBrk="1" fontAlgn="base" hangingPunct="1">
              <a:spcBef>
                <a:spcPts val="0"/>
              </a:spcBef>
              <a:spcAft>
                <a:spcPct val="0"/>
              </a:spcAft>
              <a:buClr>
                <a:schemeClr val="accent1"/>
              </a:buClr>
              <a:buFont typeface="Arial" panose="020B0604020202020204" pitchFamily="34" charset="0"/>
              <a:buChar char="–"/>
              <a:defRPr sz="1050">
                <a:solidFill>
                  <a:schemeClr val="tx1"/>
                </a:solidFill>
                <a:latin typeface="+mn-lt"/>
                <a:cs typeface="+mn-cs"/>
              </a:defRPr>
            </a:lvl7pPr>
            <a:lvl8pPr marL="737100" indent="-135000" algn="l" defTabSz="432000" rtl="0" eaLnBrk="1" fontAlgn="base" hangingPunct="1">
              <a:spcBef>
                <a:spcPts val="0"/>
              </a:spcBef>
              <a:spcAft>
                <a:spcPct val="0"/>
              </a:spcAft>
              <a:buClr>
                <a:schemeClr val="accent1"/>
              </a:buClr>
              <a:buFont typeface="Arial" panose="020B0604020202020204" pitchFamily="34" charset="0"/>
              <a:buChar char="–"/>
              <a:defRPr sz="1050">
                <a:solidFill>
                  <a:schemeClr val="tx1"/>
                </a:solidFill>
                <a:latin typeface="+mn-lt"/>
                <a:cs typeface="+mn-cs"/>
              </a:defRPr>
            </a:lvl8pPr>
            <a:lvl9pPr marL="737100" indent="-135000" algn="l" defTabSz="432000" rtl="0" eaLnBrk="1" fontAlgn="base" hangingPunct="1">
              <a:spcBef>
                <a:spcPts val="0"/>
              </a:spcBef>
              <a:spcAft>
                <a:spcPct val="0"/>
              </a:spcAft>
              <a:buClr>
                <a:schemeClr val="accent1"/>
              </a:buClr>
              <a:buFont typeface="Arial" panose="020B0604020202020204" pitchFamily="34" charset="0"/>
              <a:buChar char="–"/>
              <a:defRPr sz="1050">
                <a:solidFill>
                  <a:schemeClr val="tx1"/>
                </a:solidFill>
                <a:latin typeface="+mn-lt"/>
                <a:cs typeface="+mn-cs"/>
              </a:defRPr>
            </a:lvl9pPr>
          </a:lstStyle>
          <a:p>
            <a:r>
              <a:rPr lang="en-SG" kern="0" dirty="0">
                <a:solidFill>
                  <a:schemeClr val="dk1"/>
                </a:solidFill>
              </a:rPr>
              <a:t>First output : 5 Topics identifiable</a:t>
            </a:r>
          </a:p>
          <a:p>
            <a:pPr marL="0" indent="0">
              <a:buFont typeface="Arial" panose="020B0604020202020204" pitchFamily="34" charset="0"/>
              <a:buNone/>
            </a:pPr>
            <a:r>
              <a:rPr lang="en-SG" kern="0" dirty="0">
                <a:solidFill>
                  <a:schemeClr val="dk1"/>
                </a:solidFill>
              </a:rPr>
              <a:t> </a:t>
            </a:r>
          </a:p>
          <a:p>
            <a:pPr marL="0" indent="0">
              <a:buFont typeface="Arial" panose="020B0604020202020204" pitchFamily="34" charset="0"/>
              <a:buNone/>
            </a:pPr>
            <a:endParaRPr lang="en-SG" kern="0" dirty="0">
              <a:solidFill>
                <a:schemeClr val="dk1"/>
              </a:solidFill>
            </a:endParaRPr>
          </a:p>
          <a:p>
            <a:pPr marL="0" indent="0">
              <a:buFont typeface="Arial" panose="020B0604020202020204" pitchFamily="34" charset="0"/>
              <a:buNone/>
            </a:pPr>
            <a:endParaRPr lang="en-SG" kern="0" dirty="0">
              <a:solidFill>
                <a:schemeClr val="dk1"/>
              </a:solidFill>
            </a:endParaRPr>
          </a:p>
          <a:p>
            <a:pPr marL="0" indent="0">
              <a:buFont typeface="Arial" panose="020B0604020202020204" pitchFamily="34" charset="0"/>
              <a:buNone/>
            </a:pPr>
            <a:endParaRPr lang="en-SG" kern="0" dirty="0">
              <a:solidFill>
                <a:schemeClr val="dk1"/>
              </a:solidFill>
            </a:endParaRPr>
          </a:p>
          <a:p>
            <a:pPr marL="0" indent="0">
              <a:buFont typeface="Arial" panose="020B0604020202020204" pitchFamily="34" charset="0"/>
              <a:buNone/>
            </a:pPr>
            <a:endParaRPr lang="en-SG" kern="0" dirty="0">
              <a:solidFill>
                <a:schemeClr val="dk1"/>
              </a:solidFill>
            </a:endParaRPr>
          </a:p>
          <a:p>
            <a:pPr marL="0" indent="0">
              <a:buFont typeface="Arial" panose="020B0604020202020204" pitchFamily="34" charset="0"/>
              <a:buNone/>
            </a:pPr>
            <a:endParaRPr lang="en-SG" kern="0" dirty="0">
              <a:solidFill>
                <a:schemeClr val="dk1"/>
              </a:solidFill>
            </a:endParaRPr>
          </a:p>
          <a:p>
            <a:r>
              <a:rPr lang="en-SG" kern="0" dirty="0">
                <a:solidFill>
                  <a:schemeClr val="dk1"/>
                </a:solidFill>
              </a:rPr>
              <a:t>Second Output: Topic Confidence Score on each sentence</a:t>
            </a:r>
            <a:endParaRPr lang="en-SG" kern="0" dirty="0"/>
          </a:p>
        </p:txBody>
      </p:sp>
      <p:pic>
        <p:nvPicPr>
          <p:cNvPr id="8" name="Picture 7">
            <a:extLst>
              <a:ext uri="{FF2B5EF4-FFF2-40B4-BE49-F238E27FC236}">
                <a16:creationId xmlns:a16="http://schemas.microsoft.com/office/drawing/2014/main" id="{BB8B973F-07CB-4E2B-A109-58B30202F041}"/>
              </a:ext>
            </a:extLst>
          </p:cNvPr>
          <p:cNvPicPr>
            <a:picLocks noChangeAspect="1"/>
          </p:cNvPicPr>
          <p:nvPr/>
        </p:nvPicPr>
        <p:blipFill rotWithShape="1">
          <a:blip r:embed="rId3">
            <a:grayscl/>
          </a:blip>
          <a:srcRect t="3320"/>
          <a:stretch/>
        </p:blipFill>
        <p:spPr>
          <a:xfrm>
            <a:off x="780914" y="1309945"/>
            <a:ext cx="964894" cy="1248329"/>
          </a:xfrm>
          <a:prstGeom prst="rect">
            <a:avLst/>
          </a:prstGeom>
        </p:spPr>
      </p:pic>
      <p:pic>
        <p:nvPicPr>
          <p:cNvPr id="9" name="Picture 8">
            <a:extLst>
              <a:ext uri="{FF2B5EF4-FFF2-40B4-BE49-F238E27FC236}">
                <a16:creationId xmlns:a16="http://schemas.microsoft.com/office/drawing/2014/main" id="{8146724E-8AF4-4AF0-B9B6-597FE8ADD71D}"/>
              </a:ext>
            </a:extLst>
          </p:cNvPr>
          <p:cNvPicPr>
            <a:picLocks noChangeAspect="1"/>
          </p:cNvPicPr>
          <p:nvPr/>
        </p:nvPicPr>
        <p:blipFill>
          <a:blip r:embed="rId4">
            <a:grayscl/>
          </a:blip>
          <a:stretch>
            <a:fillRect/>
          </a:stretch>
        </p:blipFill>
        <p:spPr>
          <a:xfrm>
            <a:off x="1715557" y="1301112"/>
            <a:ext cx="964894" cy="1284578"/>
          </a:xfrm>
          <a:prstGeom prst="rect">
            <a:avLst/>
          </a:prstGeom>
        </p:spPr>
      </p:pic>
      <p:pic>
        <p:nvPicPr>
          <p:cNvPr id="10" name="Picture 9">
            <a:extLst>
              <a:ext uri="{FF2B5EF4-FFF2-40B4-BE49-F238E27FC236}">
                <a16:creationId xmlns:a16="http://schemas.microsoft.com/office/drawing/2014/main" id="{FC24F059-E38F-4103-AD48-8A283E178DFD}"/>
              </a:ext>
            </a:extLst>
          </p:cNvPr>
          <p:cNvPicPr>
            <a:picLocks noChangeAspect="1"/>
          </p:cNvPicPr>
          <p:nvPr/>
        </p:nvPicPr>
        <p:blipFill>
          <a:blip r:embed="rId5">
            <a:grayscl/>
          </a:blip>
          <a:stretch>
            <a:fillRect/>
          </a:stretch>
        </p:blipFill>
        <p:spPr>
          <a:xfrm>
            <a:off x="2658481" y="1301483"/>
            <a:ext cx="928154" cy="1300890"/>
          </a:xfrm>
          <a:prstGeom prst="rect">
            <a:avLst/>
          </a:prstGeom>
        </p:spPr>
      </p:pic>
      <p:pic>
        <p:nvPicPr>
          <p:cNvPr id="11" name="Picture 10">
            <a:extLst>
              <a:ext uri="{FF2B5EF4-FFF2-40B4-BE49-F238E27FC236}">
                <a16:creationId xmlns:a16="http://schemas.microsoft.com/office/drawing/2014/main" id="{48E579DF-63AF-40D0-B383-8B3B30B2FFA3}"/>
              </a:ext>
            </a:extLst>
          </p:cNvPr>
          <p:cNvPicPr>
            <a:picLocks noChangeAspect="1"/>
          </p:cNvPicPr>
          <p:nvPr/>
        </p:nvPicPr>
        <p:blipFill>
          <a:blip r:embed="rId6">
            <a:grayscl/>
          </a:blip>
          <a:stretch>
            <a:fillRect/>
          </a:stretch>
        </p:blipFill>
        <p:spPr>
          <a:xfrm>
            <a:off x="3586632" y="1286946"/>
            <a:ext cx="713965" cy="1312913"/>
          </a:xfrm>
          <a:prstGeom prst="rect">
            <a:avLst/>
          </a:prstGeom>
        </p:spPr>
      </p:pic>
      <p:pic>
        <p:nvPicPr>
          <p:cNvPr id="12" name="Picture 11">
            <a:extLst>
              <a:ext uri="{FF2B5EF4-FFF2-40B4-BE49-F238E27FC236}">
                <a16:creationId xmlns:a16="http://schemas.microsoft.com/office/drawing/2014/main" id="{65F0FCC1-B4CE-451E-AE8E-F8654E6841FB}"/>
              </a:ext>
            </a:extLst>
          </p:cNvPr>
          <p:cNvPicPr>
            <a:picLocks noChangeAspect="1"/>
          </p:cNvPicPr>
          <p:nvPr/>
        </p:nvPicPr>
        <p:blipFill>
          <a:blip r:embed="rId7">
            <a:grayscl/>
          </a:blip>
          <a:stretch>
            <a:fillRect/>
          </a:stretch>
        </p:blipFill>
        <p:spPr>
          <a:xfrm>
            <a:off x="4300598" y="1286972"/>
            <a:ext cx="999186" cy="1318926"/>
          </a:xfrm>
          <a:prstGeom prst="rect">
            <a:avLst/>
          </a:prstGeom>
        </p:spPr>
      </p:pic>
      <p:pic>
        <p:nvPicPr>
          <p:cNvPr id="13" name="Picture 12">
            <a:extLst>
              <a:ext uri="{FF2B5EF4-FFF2-40B4-BE49-F238E27FC236}">
                <a16:creationId xmlns:a16="http://schemas.microsoft.com/office/drawing/2014/main" id="{4000A049-3CD1-4E7F-9A09-58BEAC246C67}"/>
              </a:ext>
            </a:extLst>
          </p:cNvPr>
          <p:cNvPicPr>
            <a:picLocks noChangeAspect="1"/>
          </p:cNvPicPr>
          <p:nvPr/>
        </p:nvPicPr>
        <p:blipFill rotWithShape="1">
          <a:blip r:embed="rId8"/>
          <a:srcRect r="4694"/>
          <a:stretch/>
        </p:blipFill>
        <p:spPr>
          <a:xfrm>
            <a:off x="255586" y="2993884"/>
            <a:ext cx="8640764" cy="1307309"/>
          </a:xfrm>
          <a:prstGeom prst="rect">
            <a:avLst/>
          </a:prstGeom>
        </p:spPr>
      </p:pic>
      <p:sp>
        <p:nvSpPr>
          <p:cNvPr id="14" name="Title 13">
            <a:extLst>
              <a:ext uri="{FF2B5EF4-FFF2-40B4-BE49-F238E27FC236}">
                <a16:creationId xmlns:a16="http://schemas.microsoft.com/office/drawing/2014/main" id="{C114C5FF-8751-466A-AB75-43CED5F83BDD}"/>
              </a:ext>
            </a:extLst>
          </p:cNvPr>
          <p:cNvSpPr>
            <a:spLocks noGrp="1"/>
          </p:cNvSpPr>
          <p:nvPr>
            <p:ph type="title"/>
          </p:nvPr>
        </p:nvSpPr>
        <p:spPr/>
        <p:txBody>
          <a:bodyPr/>
          <a:lstStyle/>
          <a:p>
            <a:r>
              <a:rPr lang="en-SG" dirty="0"/>
              <a:t>SklearnLDA output</a:t>
            </a:r>
          </a:p>
        </p:txBody>
      </p:sp>
      <p:sp>
        <p:nvSpPr>
          <p:cNvPr id="18" name="Slide Number Placeholder 17">
            <a:extLst>
              <a:ext uri="{FF2B5EF4-FFF2-40B4-BE49-F238E27FC236}">
                <a16:creationId xmlns:a16="http://schemas.microsoft.com/office/drawing/2014/main" id="{63BBE675-0CDF-4AA8-9154-81D8D21D5C3F}"/>
              </a:ext>
            </a:extLst>
          </p:cNvPr>
          <p:cNvSpPr>
            <a:spLocks noGrp="1"/>
          </p:cNvSpPr>
          <p:nvPr>
            <p:ph type="sldNum" sz="quarter" idx="16"/>
          </p:nvPr>
        </p:nvSpPr>
        <p:spPr/>
        <p:txBody>
          <a:bodyPr/>
          <a:lstStyle/>
          <a:p>
            <a:r>
              <a:rPr lang="en-US" dirty="0"/>
              <a:t> </a:t>
            </a:r>
          </a:p>
        </p:txBody>
      </p:sp>
      <p:sp>
        <p:nvSpPr>
          <p:cNvPr id="19" name="Rectangle: Rounded Corners 18">
            <a:extLst>
              <a:ext uri="{FF2B5EF4-FFF2-40B4-BE49-F238E27FC236}">
                <a16:creationId xmlns:a16="http://schemas.microsoft.com/office/drawing/2014/main" id="{0A9E8EA2-9E07-4E07-818B-F1BA413F7363}"/>
              </a:ext>
            </a:extLst>
          </p:cNvPr>
          <p:cNvSpPr/>
          <p:nvPr/>
        </p:nvSpPr>
        <p:spPr bwMode="auto">
          <a:xfrm>
            <a:off x="5835962" y="1663896"/>
            <a:ext cx="2446685" cy="576064"/>
          </a:xfrm>
          <a:prstGeom prst="roundRect">
            <a:avLst/>
          </a:prstGeom>
          <a:ln>
            <a:headEnd/>
            <a:tailEnd/>
          </a:ln>
        </p:spPr>
        <p:style>
          <a:lnRef idx="2">
            <a:schemeClr val="accent3"/>
          </a:lnRef>
          <a:fillRef idx="1">
            <a:schemeClr val="lt1"/>
          </a:fillRef>
          <a:effectRef idx="0">
            <a:schemeClr val="accent3"/>
          </a:effectRef>
          <a:fontRef idx="minor">
            <a:schemeClr val="dk1"/>
          </a:fontRef>
        </p:style>
        <p:txBody>
          <a:bodyPr wrap="square" lIns="72000" tIns="72000" rIns="72000" bIns="72000" rtlCol="0" anchor="ctr"/>
          <a:lstStyle/>
          <a:p>
            <a:pPr algn="ctr" eaLnBrk="0" hangingPunct="0"/>
            <a:r>
              <a:rPr lang="en-SG" sz="1400" baseline="0" dirty="0">
                <a:latin typeface="+mn-lt"/>
                <a:ea typeface="+mn-ea"/>
                <a:cs typeface="+mn-cs"/>
              </a:rPr>
              <a:t>Cluster of words belonging to a particular symptom</a:t>
            </a:r>
          </a:p>
        </p:txBody>
      </p:sp>
      <p:pic>
        <p:nvPicPr>
          <p:cNvPr id="21" name="Graphic 20" descr="Arrow Slight curve">
            <a:extLst>
              <a:ext uri="{FF2B5EF4-FFF2-40B4-BE49-F238E27FC236}">
                <a16:creationId xmlns:a16="http://schemas.microsoft.com/office/drawing/2014/main" id="{562E8996-44E3-4E32-BCD3-D7914DEE810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334571" y="1714801"/>
            <a:ext cx="457200" cy="457200"/>
          </a:xfrm>
          <a:prstGeom prst="rect">
            <a:avLst/>
          </a:prstGeom>
        </p:spPr>
      </p:pic>
    </p:spTree>
    <p:extLst>
      <p:ext uri="{BB962C8B-B14F-4D97-AF65-F5344CB8AC3E}">
        <p14:creationId xmlns:p14="http://schemas.microsoft.com/office/powerpoint/2010/main" val="161743023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4">
            <a:extLst>
              <a:ext uri="{FF2B5EF4-FFF2-40B4-BE49-F238E27FC236}">
                <a16:creationId xmlns:a16="http://schemas.microsoft.com/office/drawing/2014/main" id="{6CB68DEE-2F0A-4C4F-8541-C3B8D91A74C4}"/>
              </a:ext>
            </a:extLst>
          </p:cNvPr>
          <p:cNvSpPr txBox="1">
            <a:spLocks/>
          </p:cNvSpPr>
          <p:nvPr/>
        </p:nvSpPr>
        <p:spPr>
          <a:xfrm>
            <a:off x="250826" y="951311"/>
            <a:ext cx="8640764" cy="3835005"/>
          </a:xfrm>
          <a:prstGeom prst="rect">
            <a:avLst/>
          </a:prstGeom>
        </p:spPr>
        <p:txBody>
          <a:bodyPr vert="horz" lIns="0" tIns="0" rIns="0" bIns="0" rtlCol="0">
            <a:normAutofit/>
          </a:bodyPr>
          <a:lstStyle>
            <a:lvl1pPr marL="135000" indent="-135000" algn="l" defTabSz="432000" rtl="0" eaLnBrk="1" fontAlgn="base" hangingPunct="1">
              <a:spcBef>
                <a:spcPts val="0"/>
              </a:spcBef>
              <a:spcAft>
                <a:spcPts val="0"/>
              </a:spcAft>
              <a:buClr>
                <a:schemeClr val="accent1"/>
              </a:buClr>
              <a:buSzPct val="100000"/>
              <a:buFont typeface="Arial" panose="020B0604020202020204" pitchFamily="34" charset="0"/>
              <a:buChar char="›"/>
              <a:defRPr sz="1500" baseline="0">
                <a:solidFill>
                  <a:schemeClr val="tx1"/>
                </a:solidFill>
                <a:latin typeface="+mn-lt"/>
                <a:ea typeface="+mn-ea"/>
                <a:cs typeface="+mn-cs"/>
              </a:defRPr>
            </a:lvl1pPr>
            <a:lvl2pPr marL="337500" indent="-202500" algn="l" defTabSz="432000" rtl="0" eaLnBrk="1" fontAlgn="base" hangingPunct="1">
              <a:spcBef>
                <a:spcPts val="0"/>
              </a:spcBef>
              <a:spcAft>
                <a:spcPts val="0"/>
              </a:spcAft>
              <a:buClr>
                <a:schemeClr val="accent1"/>
              </a:buClr>
              <a:buSzPct val="100000"/>
              <a:buFont typeface="Verdana" panose="020B0604030504040204" pitchFamily="34" charset="0"/>
              <a:buChar char="–"/>
              <a:defRPr sz="1500">
                <a:solidFill>
                  <a:schemeClr val="tx1"/>
                </a:solidFill>
                <a:latin typeface="+mn-lt"/>
                <a:ea typeface="+mn-ea"/>
                <a:cs typeface="+mn-cs"/>
              </a:defRPr>
            </a:lvl2pPr>
            <a:lvl3pPr marL="472500" indent="-135000" algn="l" defTabSz="432000" rtl="0" eaLnBrk="1" fontAlgn="base" hangingPunct="1">
              <a:spcBef>
                <a:spcPts val="0"/>
              </a:spcBef>
              <a:spcAft>
                <a:spcPts val="0"/>
              </a:spcAft>
              <a:buClr>
                <a:schemeClr val="accent1"/>
              </a:buClr>
              <a:buSzPct val="100000"/>
              <a:buFont typeface="Arial" panose="020B0604020202020204" pitchFamily="34" charset="0"/>
              <a:buChar char="–"/>
              <a:defRPr sz="1350" baseline="0">
                <a:solidFill>
                  <a:schemeClr val="tx1"/>
                </a:solidFill>
                <a:latin typeface="+mn-lt"/>
                <a:ea typeface="+mn-ea"/>
                <a:cs typeface="+mn-cs"/>
              </a:defRPr>
            </a:lvl3pPr>
            <a:lvl4pPr marL="602100" indent="-129600" algn="l" defTabSz="432000" rtl="0" eaLnBrk="1" fontAlgn="base" hangingPunct="1">
              <a:spcBef>
                <a:spcPts val="0"/>
              </a:spcBef>
              <a:spcAft>
                <a:spcPts val="0"/>
              </a:spcAft>
              <a:buClr>
                <a:schemeClr val="accent1"/>
              </a:buClr>
              <a:buSzPct val="100000"/>
              <a:buFont typeface="Arial" panose="020B0604020202020204" pitchFamily="34" charset="0"/>
              <a:buChar char="–"/>
              <a:defRPr sz="1200" baseline="0">
                <a:solidFill>
                  <a:schemeClr val="tx1"/>
                </a:solidFill>
                <a:latin typeface="+mn-lt"/>
                <a:ea typeface="+mn-ea"/>
                <a:cs typeface="+mn-cs"/>
              </a:defRPr>
            </a:lvl4pPr>
            <a:lvl5pPr marL="737100" indent="-135000" algn="l" defTabSz="432000" rtl="0" eaLnBrk="1" fontAlgn="base" hangingPunct="1">
              <a:spcBef>
                <a:spcPts val="0"/>
              </a:spcBef>
              <a:spcAft>
                <a:spcPts val="0"/>
              </a:spcAft>
              <a:buClr>
                <a:schemeClr val="accent1"/>
              </a:buClr>
              <a:buSzPct val="100000"/>
              <a:buFont typeface="Arial" panose="020B0604020202020204" pitchFamily="34" charset="0"/>
              <a:buChar char="–"/>
              <a:defRPr sz="1050" baseline="0">
                <a:solidFill>
                  <a:schemeClr val="tx1"/>
                </a:solidFill>
                <a:latin typeface="+mn-lt"/>
                <a:ea typeface="+mn-ea"/>
                <a:cs typeface="+mn-cs"/>
              </a:defRPr>
            </a:lvl5pPr>
            <a:lvl6pPr marL="737100" indent="-135000" algn="l" defTabSz="432000" rtl="0" eaLnBrk="1" fontAlgn="base" hangingPunct="1">
              <a:spcBef>
                <a:spcPts val="0"/>
              </a:spcBef>
              <a:spcAft>
                <a:spcPts val="0"/>
              </a:spcAft>
              <a:buClr>
                <a:schemeClr val="accent1"/>
              </a:buClr>
              <a:buFont typeface="Arial" panose="020B0604020202020204" pitchFamily="34" charset="0"/>
              <a:buChar char="–"/>
              <a:defRPr sz="1050" baseline="0">
                <a:solidFill>
                  <a:schemeClr val="tx1"/>
                </a:solidFill>
                <a:latin typeface="+mn-lt"/>
                <a:cs typeface="+mn-cs"/>
              </a:defRPr>
            </a:lvl6pPr>
            <a:lvl7pPr marL="737100" indent="-135000" algn="l" defTabSz="432000" rtl="0" eaLnBrk="1" fontAlgn="base" hangingPunct="1">
              <a:spcBef>
                <a:spcPts val="0"/>
              </a:spcBef>
              <a:spcAft>
                <a:spcPct val="0"/>
              </a:spcAft>
              <a:buClr>
                <a:schemeClr val="accent1"/>
              </a:buClr>
              <a:buFont typeface="Arial" panose="020B0604020202020204" pitchFamily="34" charset="0"/>
              <a:buChar char="–"/>
              <a:defRPr sz="1050">
                <a:solidFill>
                  <a:schemeClr val="tx1"/>
                </a:solidFill>
                <a:latin typeface="+mn-lt"/>
                <a:cs typeface="+mn-cs"/>
              </a:defRPr>
            </a:lvl7pPr>
            <a:lvl8pPr marL="737100" indent="-135000" algn="l" defTabSz="432000" rtl="0" eaLnBrk="1" fontAlgn="base" hangingPunct="1">
              <a:spcBef>
                <a:spcPts val="0"/>
              </a:spcBef>
              <a:spcAft>
                <a:spcPct val="0"/>
              </a:spcAft>
              <a:buClr>
                <a:schemeClr val="accent1"/>
              </a:buClr>
              <a:buFont typeface="Arial" panose="020B0604020202020204" pitchFamily="34" charset="0"/>
              <a:buChar char="–"/>
              <a:defRPr sz="1050">
                <a:solidFill>
                  <a:schemeClr val="tx1"/>
                </a:solidFill>
                <a:latin typeface="+mn-lt"/>
                <a:cs typeface="+mn-cs"/>
              </a:defRPr>
            </a:lvl8pPr>
            <a:lvl9pPr marL="737100" indent="-135000" algn="l" defTabSz="432000" rtl="0" eaLnBrk="1" fontAlgn="base" hangingPunct="1">
              <a:spcBef>
                <a:spcPts val="0"/>
              </a:spcBef>
              <a:spcAft>
                <a:spcPct val="0"/>
              </a:spcAft>
              <a:buClr>
                <a:schemeClr val="accent1"/>
              </a:buClr>
              <a:buFont typeface="Arial" panose="020B0604020202020204" pitchFamily="34" charset="0"/>
              <a:buChar char="–"/>
              <a:defRPr sz="1050">
                <a:solidFill>
                  <a:schemeClr val="tx1"/>
                </a:solidFill>
                <a:latin typeface="+mn-lt"/>
                <a:cs typeface="+mn-cs"/>
              </a:defRPr>
            </a:lvl9pPr>
          </a:lstStyle>
          <a:p>
            <a:pPr algn="just"/>
            <a:r>
              <a:rPr lang="en-SG" sz="1400" kern="0" dirty="0">
                <a:solidFill>
                  <a:schemeClr val="dk1"/>
                </a:solidFill>
              </a:rPr>
              <a:t>What is the Purpose</a:t>
            </a:r>
          </a:p>
          <a:p>
            <a:pPr lvl="1" algn="just">
              <a:buFont typeface="Verdana" panose="020B0604030504040204" pitchFamily="34" charset="0"/>
              <a:buChar char="–"/>
            </a:pPr>
            <a:r>
              <a:rPr lang="en-SG" sz="1400" kern="0" dirty="0">
                <a:solidFill>
                  <a:schemeClr val="dk1"/>
                </a:solidFill>
              </a:rPr>
              <a:t>To leverage the model built for the symptom analysis and resolution of incident tickets automatically</a:t>
            </a:r>
          </a:p>
          <a:p>
            <a:pPr marL="0" indent="0" algn="just">
              <a:buFont typeface="Arial" panose="020B0604020202020204" pitchFamily="34" charset="0"/>
              <a:buNone/>
            </a:pPr>
            <a:endParaRPr lang="en-SG" kern="0" dirty="0">
              <a:solidFill>
                <a:schemeClr val="dk1"/>
              </a:solidFill>
            </a:endParaRPr>
          </a:p>
          <a:p>
            <a:pPr marL="0" indent="0" algn="just">
              <a:buFont typeface="Arial" panose="020B0604020202020204" pitchFamily="34" charset="0"/>
              <a:buNone/>
            </a:pPr>
            <a:endParaRPr lang="en-SG" kern="0" dirty="0">
              <a:solidFill>
                <a:schemeClr val="dk1"/>
              </a:solidFill>
            </a:endParaRPr>
          </a:p>
          <a:p>
            <a:pPr marL="0" indent="0" algn="just">
              <a:buFont typeface="Arial" panose="020B0604020202020204" pitchFamily="34" charset="0"/>
              <a:buNone/>
            </a:pPr>
            <a:endParaRPr lang="en-SG" sz="1400" kern="0" dirty="0">
              <a:solidFill>
                <a:schemeClr val="dk1"/>
              </a:solidFill>
            </a:endParaRPr>
          </a:p>
          <a:p>
            <a:pPr algn="just"/>
            <a:r>
              <a:rPr lang="en-SG" sz="1400" kern="0" dirty="0">
                <a:solidFill>
                  <a:schemeClr val="dk1"/>
                </a:solidFill>
              </a:rPr>
              <a:t>What Type of chatbot</a:t>
            </a:r>
          </a:p>
          <a:p>
            <a:pPr lvl="1" algn="just">
              <a:buFont typeface="Verdana" panose="020B0604030504040204" pitchFamily="34" charset="0"/>
              <a:buChar char="–"/>
            </a:pPr>
            <a:r>
              <a:rPr lang="en-SG" sz="1400" kern="0" dirty="0">
                <a:solidFill>
                  <a:schemeClr val="dk1"/>
                </a:solidFill>
              </a:rPr>
              <a:t>Microsoft Azure with python SDK</a:t>
            </a:r>
          </a:p>
          <a:p>
            <a:pPr lvl="1" algn="just">
              <a:buFont typeface="Verdana" panose="020B0604030504040204" pitchFamily="34" charset="0"/>
              <a:buChar char="–"/>
            </a:pPr>
            <a:endParaRPr lang="en-SG" kern="0" dirty="0">
              <a:solidFill>
                <a:schemeClr val="dk1"/>
              </a:solidFill>
            </a:endParaRPr>
          </a:p>
          <a:p>
            <a:pPr marL="0" indent="0" algn="just">
              <a:buFont typeface="Arial" panose="020B0604020202020204" pitchFamily="34" charset="0"/>
              <a:buNone/>
            </a:pPr>
            <a:endParaRPr lang="en-SG" kern="0" dirty="0">
              <a:solidFill>
                <a:schemeClr val="dk1"/>
              </a:solidFill>
            </a:endParaRPr>
          </a:p>
          <a:p>
            <a:pPr algn="just"/>
            <a:r>
              <a:rPr lang="en-SG" sz="1400" kern="0" dirty="0">
                <a:solidFill>
                  <a:schemeClr val="dk1"/>
                </a:solidFill>
              </a:rPr>
              <a:t>Process</a:t>
            </a:r>
          </a:p>
          <a:p>
            <a:pPr lvl="1" algn="just">
              <a:buFont typeface="Verdana" panose="020B0604030504040204" pitchFamily="34" charset="0"/>
              <a:buChar char="–"/>
            </a:pPr>
            <a:r>
              <a:rPr lang="en-SG" sz="1400" kern="0" dirty="0">
                <a:solidFill>
                  <a:schemeClr val="dk1"/>
                </a:solidFill>
              </a:rPr>
              <a:t>It requires the knowledge of </a:t>
            </a:r>
            <a:r>
              <a:rPr lang="en-SG" sz="1400" b="1" kern="0" dirty="0">
                <a:solidFill>
                  <a:schemeClr val="dk1"/>
                </a:solidFill>
              </a:rPr>
              <a:t>Asynchronous programming</a:t>
            </a:r>
          </a:p>
          <a:p>
            <a:pPr marL="135000" lvl="1" indent="0" algn="just">
              <a:buNone/>
            </a:pPr>
            <a:endParaRPr lang="en-SG" sz="1400" b="1" kern="0" dirty="0">
              <a:solidFill>
                <a:schemeClr val="dk1"/>
              </a:solidFill>
            </a:endParaRPr>
          </a:p>
          <a:p>
            <a:pPr lvl="1" algn="just">
              <a:buFont typeface="Verdana" panose="020B0604030504040204" pitchFamily="34" charset="0"/>
              <a:buChar char="–"/>
            </a:pPr>
            <a:r>
              <a:rPr lang="en-SG" sz="1400" kern="0" dirty="0">
                <a:solidFill>
                  <a:schemeClr val="dk1"/>
                </a:solidFill>
              </a:rPr>
              <a:t>The </a:t>
            </a:r>
            <a:r>
              <a:rPr lang="en-SG" sz="1400" b="1" kern="0" dirty="0">
                <a:solidFill>
                  <a:schemeClr val="dk1"/>
                </a:solidFill>
              </a:rPr>
              <a:t>app layer </a:t>
            </a:r>
            <a:r>
              <a:rPr lang="en-SG" sz="1400" kern="0" dirty="0">
                <a:solidFill>
                  <a:schemeClr val="dk1"/>
                </a:solidFill>
              </a:rPr>
              <a:t>is available with the azure sample bots</a:t>
            </a:r>
          </a:p>
          <a:p>
            <a:pPr marL="135000" lvl="1" indent="0" algn="just">
              <a:buNone/>
            </a:pPr>
            <a:endParaRPr lang="en-SG" sz="1400" kern="0" dirty="0">
              <a:solidFill>
                <a:schemeClr val="dk1"/>
              </a:solidFill>
            </a:endParaRPr>
          </a:p>
          <a:p>
            <a:pPr lvl="1" algn="just">
              <a:buFont typeface="Verdana" panose="020B0604030504040204" pitchFamily="34" charset="0"/>
              <a:buChar char="–"/>
            </a:pPr>
            <a:r>
              <a:rPr lang="en-SG" sz="1400" kern="0" dirty="0">
                <a:solidFill>
                  <a:schemeClr val="dk1"/>
                </a:solidFill>
              </a:rPr>
              <a:t>The </a:t>
            </a:r>
            <a:r>
              <a:rPr lang="en-SG" sz="1400" b="1" kern="0" dirty="0">
                <a:solidFill>
                  <a:schemeClr val="dk1"/>
                </a:solidFill>
              </a:rPr>
              <a:t>bot layer </a:t>
            </a:r>
            <a:r>
              <a:rPr lang="en-SG" sz="1400" kern="0" dirty="0">
                <a:solidFill>
                  <a:schemeClr val="dk1"/>
                </a:solidFill>
              </a:rPr>
              <a:t>requires user to write program for different </a:t>
            </a:r>
            <a:r>
              <a:rPr lang="en-SG" sz="1400" b="1" kern="0" dirty="0">
                <a:solidFill>
                  <a:schemeClr val="dk1"/>
                </a:solidFill>
              </a:rPr>
              <a:t>dialogs</a:t>
            </a:r>
            <a:r>
              <a:rPr lang="en-SG" sz="1400" kern="0" dirty="0">
                <a:solidFill>
                  <a:schemeClr val="dk1"/>
                </a:solidFill>
              </a:rPr>
              <a:t> for different </a:t>
            </a:r>
            <a:r>
              <a:rPr lang="en-SG" sz="1400" b="1" kern="0" dirty="0">
                <a:solidFill>
                  <a:schemeClr val="dk1"/>
                </a:solidFill>
              </a:rPr>
              <a:t>purposes</a:t>
            </a:r>
            <a:r>
              <a:rPr lang="en-SG" sz="1400" kern="0" dirty="0">
                <a:solidFill>
                  <a:schemeClr val="dk1"/>
                </a:solidFill>
              </a:rPr>
              <a:t>. My bot currently has </a:t>
            </a:r>
            <a:r>
              <a:rPr lang="en-SG" sz="1400" b="1" kern="0" dirty="0">
                <a:solidFill>
                  <a:schemeClr val="dk1"/>
                </a:solidFill>
              </a:rPr>
              <a:t>two dialogs</a:t>
            </a:r>
            <a:r>
              <a:rPr lang="en-SG" sz="1400" kern="0" dirty="0">
                <a:solidFill>
                  <a:schemeClr val="dk1"/>
                </a:solidFill>
              </a:rPr>
              <a:t>. One for the </a:t>
            </a:r>
            <a:r>
              <a:rPr lang="en-SG" sz="1400" b="1" kern="0" dirty="0">
                <a:solidFill>
                  <a:schemeClr val="dk1"/>
                </a:solidFill>
              </a:rPr>
              <a:t>introduction</a:t>
            </a:r>
            <a:r>
              <a:rPr lang="en-SG" sz="1400" kern="0" dirty="0">
                <a:solidFill>
                  <a:schemeClr val="dk1"/>
                </a:solidFill>
              </a:rPr>
              <a:t> and </a:t>
            </a:r>
            <a:r>
              <a:rPr lang="en-SG" sz="1400" b="1" kern="0" dirty="0">
                <a:solidFill>
                  <a:schemeClr val="dk1"/>
                </a:solidFill>
              </a:rPr>
              <a:t>symptom analysis</a:t>
            </a:r>
            <a:r>
              <a:rPr lang="en-SG" sz="1400" kern="0" dirty="0">
                <a:solidFill>
                  <a:schemeClr val="dk1"/>
                </a:solidFill>
              </a:rPr>
              <a:t> and other one is for the </a:t>
            </a:r>
            <a:r>
              <a:rPr lang="en-SG" sz="1400" b="1" kern="0" dirty="0">
                <a:solidFill>
                  <a:schemeClr val="dk1"/>
                </a:solidFill>
              </a:rPr>
              <a:t>resolution</a:t>
            </a:r>
            <a:r>
              <a:rPr lang="en-SG" sz="1400" kern="0" dirty="0">
                <a:solidFill>
                  <a:schemeClr val="dk1"/>
                </a:solidFill>
              </a:rPr>
              <a:t> of only “</a:t>
            </a:r>
            <a:r>
              <a:rPr lang="en-SG" sz="1400" b="1" kern="0" dirty="0">
                <a:solidFill>
                  <a:schemeClr val="dk1"/>
                </a:solidFill>
              </a:rPr>
              <a:t>print</a:t>
            </a:r>
            <a:r>
              <a:rPr lang="en-SG" sz="1400" kern="0" dirty="0">
                <a:solidFill>
                  <a:schemeClr val="dk1"/>
                </a:solidFill>
              </a:rPr>
              <a:t>” type of Symptoms.</a:t>
            </a:r>
          </a:p>
          <a:p>
            <a:pPr marL="0" indent="0">
              <a:buFont typeface="Arial" panose="020B0604020202020204" pitchFamily="34" charset="0"/>
              <a:buNone/>
            </a:pPr>
            <a:endParaRPr lang="en-SG" sz="1200" kern="0" dirty="0">
              <a:solidFill>
                <a:schemeClr val="dk1"/>
              </a:solidFill>
            </a:endParaRPr>
          </a:p>
          <a:p>
            <a:pPr marL="0" indent="0">
              <a:buFont typeface="Arial" panose="020B0604020202020204" pitchFamily="34" charset="0"/>
              <a:buNone/>
            </a:pPr>
            <a:endParaRPr lang="en-SG" sz="1200" kern="0" dirty="0">
              <a:solidFill>
                <a:schemeClr val="dk1"/>
              </a:solidFill>
            </a:endParaRPr>
          </a:p>
          <a:p>
            <a:pPr marL="0" indent="0">
              <a:buFont typeface="Arial" panose="020B0604020202020204" pitchFamily="34" charset="0"/>
              <a:buNone/>
            </a:pPr>
            <a:endParaRPr lang="en-SG" kern="0" dirty="0">
              <a:solidFill>
                <a:schemeClr val="dk1"/>
              </a:solidFill>
            </a:endParaRPr>
          </a:p>
          <a:p>
            <a:pPr marL="0" indent="0">
              <a:buFont typeface="Arial" panose="020B0604020202020204" pitchFamily="34" charset="0"/>
              <a:buNone/>
            </a:pPr>
            <a:endParaRPr lang="en-SG" kern="0" dirty="0"/>
          </a:p>
        </p:txBody>
      </p:sp>
      <p:pic>
        <p:nvPicPr>
          <p:cNvPr id="8" name="Graphic 7" descr="Robot">
            <a:extLst>
              <a:ext uri="{FF2B5EF4-FFF2-40B4-BE49-F238E27FC236}">
                <a16:creationId xmlns:a16="http://schemas.microsoft.com/office/drawing/2014/main" id="{07C43FDF-F18B-474B-975C-4F0499BAA8A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020661" y="1589688"/>
            <a:ext cx="1439262" cy="1439262"/>
          </a:xfrm>
          <a:prstGeom prst="rect">
            <a:avLst/>
          </a:prstGeom>
        </p:spPr>
      </p:pic>
      <p:sp>
        <p:nvSpPr>
          <p:cNvPr id="9" name="Title 8">
            <a:extLst>
              <a:ext uri="{FF2B5EF4-FFF2-40B4-BE49-F238E27FC236}">
                <a16:creationId xmlns:a16="http://schemas.microsoft.com/office/drawing/2014/main" id="{AF28E594-60B5-4987-AB02-3F9305B9D618}"/>
              </a:ext>
            </a:extLst>
          </p:cNvPr>
          <p:cNvSpPr>
            <a:spLocks noGrp="1"/>
          </p:cNvSpPr>
          <p:nvPr>
            <p:ph type="title"/>
          </p:nvPr>
        </p:nvSpPr>
        <p:spPr/>
        <p:txBody>
          <a:bodyPr/>
          <a:lstStyle/>
          <a:p>
            <a:r>
              <a:rPr lang="en-GB" dirty="0"/>
              <a:t>BOC Chatbot for Incident Ticket using unsupervised NLP model</a:t>
            </a:r>
            <a:endParaRPr lang="en-SG" dirty="0"/>
          </a:p>
        </p:txBody>
      </p:sp>
      <p:sp>
        <p:nvSpPr>
          <p:cNvPr id="13" name="Slide Number Placeholder 12">
            <a:extLst>
              <a:ext uri="{FF2B5EF4-FFF2-40B4-BE49-F238E27FC236}">
                <a16:creationId xmlns:a16="http://schemas.microsoft.com/office/drawing/2014/main" id="{916FE1A9-1C6D-456B-B31D-2D3601E85253}"/>
              </a:ext>
            </a:extLst>
          </p:cNvPr>
          <p:cNvSpPr>
            <a:spLocks noGrp="1"/>
          </p:cNvSpPr>
          <p:nvPr>
            <p:ph type="sldNum" sz="quarter" idx="16"/>
          </p:nvPr>
        </p:nvSpPr>
        <p:spPr/>
        <p:txBody>
          <a:bodyPr/>
          <a:lstStyle/>
          <a:p>
            <a:r>
              <a:rPr lang="en-US" dirty="0"/>
              <a:t> </a:t>
            </a:r>
          </a:p>
        </p:txBody>
      </p:sp>
    </p:spTree>
    <p:extLst>
      <p:ext uri="{BB962C8B-B14F-4D97-AF65-F5344CB8AC3E}">
        <p14:creationId xmlns:p14="http://schemas.microsoft.com/office/powerpoint/2010/main" val="22458869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5BE1FB3-FC5B-408B-803A-DAF95FA30026}"/>
              </a:ext>
            </a:extLst>
          </p:cNvPr>
          <p:cNvSpPr/>
          <p:nvPr/>
        </p:nvSpPr>
        <p:spPr bwMode="auto">
          <a:xfrm>
            <a:off x="2242322" y="1203836"/>
            <a:ext cx="3211288" cy="3577845"/>
          </a:xfrm>
          <a:prstGeom prst="rect">
            <a:avLst/>
          </a:prstGeom>
          <a:gradFill flip="none" rotWithShape="1">
            <a:gsLst>
              <a:gs pos="0">
                <a:srgbClr val="D1E1DB"/>
              </a:gs>
              <a:gs pos="35000">
                <a:srgbClr val="D1E1DB"/>
              </a:gs>
              <a:gs pos="100000">
                <a:srgbClr val="D1E1DB"/>
              </a:gs>
            </a:gsLst>
            <a:lin ang="16200000" scaled="1"/>
            <a:tileRect/>
          </a:gradFill>
          <a:ln w="9525" cap="flat" cmpd="sng" algn="ctr">
            <a:solidFill>
              <a:schemeClr val="accent3"/>
            </a:solidFill>
            <a:prstDash val="solid"/>
            <a:round/>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wrap="square" lIns="72000" tIns="72000" rIns="72000" bIns="72000" rtlCol="0" anchor="ctr"/>
          <a:lstStyle/>
          <a:p>
            <a:pPr algn="ctr" eaLnBrk="0" hangingPunct="0"/>
            <a:endParaRPr lang="en-SG" sz="1600" dirty="0">
              <a:latin typeface="+mn-lt"/>
              <a:ea typeface="Verdana" pitchFamily="34" charset="0"/>
              <a:cs typeface="Verdana" pitchFamily="34" charset="0"/>
            </a:endParaRPr>
          </a:p>
        </p:txBody>
      </p:sp>
      <p:sp>
        <p:nvSpPr>
          <p:cNvPr id="8" name="Rectangle 7">
            <a:extLst>
              <a:ext uri="{FF2B5EF4-FFF2-40B4-BE49-F238E27FC236}">
                <a16:creationId xmlns:a16="http://schemas.microsoft.com/office/drawing/2014/main" id="{F59DDB1B-7C98-4D0E-878D-BE137FAE9B41}"/>
              </a:ext>
            </a:extLst>
          </p:cNvPr>
          <p:cNvSpPr/>
          <p:nvPr/>
        </p:nvSpPr>
        <p:spPr bwMode="auto">
          <a:xfrm>
            <a:off x="5680300" y="1208471"/>
            <a:ext cx="3211288" cy="3577845"/>
          </a:xfrm>
          <a:prstGeom prst="rect">
            <a:avLst/>
          </a:prstGeom>
          <a:gradFill flip="none" rotWithShape="1">
            <a:gsLst>
              <a:gs pos="0">
                <a:srgbClr val="E3A9CB"/>
              </a:gs>
              <a:gs pos="35000">
                <a:srgbClr val="E3A9CB"/>
              </a:gs>
              <a:gs pos="100000">
                <a:schemeClr val="lt2"/>
              </a:gs>
            </a:gsLst>
            <a:lin ang="16200000" scaled="1"/>
            <a:tileRect/>
          </a:gradFill>
          <a:ln w="9525" cap="flat" cmpd="sng" algn="ctr">
            <a:solidFill>
              <a:schemeClr val="accent6"/>
            </a:solidFill>
            <a:prstDash val="solid"/>
            <a:round/>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wrap="square" lIns="72000" tIns="72000" rIns="72000" bIns="72000" rtlCol="0" anchor="ctr"/>
          <a:lstStyle/>
          <a:p>
            <a:pPr algn="ctr" eaLnBrk="0" hangingPunct="0"/>
            <a:endParaRPr lang="en-SG" sz="1600" dirty="0">
              <a:latin typeface="+mn-lt"/>
              <a:ea typeface="Verdana" pitchFamily="34" charset="0"/>
              <a:cs typeface="Verdana" pitchFamily="34" charset="0"/>
            </a:endParaRPr>
          </a:p>
        </p:txBody>
      </p:sp>
      <p:sp>
        <p:nvSpPr>
          <p:cNvPr id="9" name="Rectangle 8">
            <a:extLst>
              <a:ext uri="{FF2B5EF4-FFF2-40B4-BE49-F238E27FC236}">
                <a16:creationId xmlns:a16="http://schemas.microsoft.com/office/drawing/2014/main" id="{7F84029A-AFD3-4CBF-BBDB-8E622FDE15C0}"/>
              </a:ext>
            </a:extLst>
          </p:cNvPr>
          <p:cNvSpPr/>
          <p:nvPr/>
        </p:nvSpPr>
        <p:spPr bwMode="auto">
          <a:xfrm>
            <a:off x="6597507" y="1309160"/>
            <a:ext cx="1255303" cy="134081"/>
          </a:xfrm>
          <a:prstGeom prst="rect">
            <a:avLst/>
          </a:prstGeom>
          <a:noFill/>
          <a:ln w="9525" cap="flat" cmpd="sng" algn="ctr">
            <a:solidFill>
              <a:srgbClr val="644F54"/>
            </a:solidFill>
            <a:prstDash val="solid"/>
            <a:miter lim="800000"/>
            <a:headEnd type="none" w="med" len="med"/>
            <a:tailEnd type="none" w="med" len="med"/>
          </a:ln>
        </p:spPr>
        <p:txBody>
          <a:bodyPr wrap="square" lIns="72000" tIns="72000" rIns="72000" bIns="72000" rtlCol="0" anchor="ctr"/>
          <a:lstStyle/>
          <a:p>
            <a:pPr algn="ctr" eaLnBrk="0" hangingPunct="0"/>
            <a:r>
              <a:rPr lang="en-SG" sz="1000" dirty="0">
                <a:solidFill>
                  <a:schemeClr val="dk1"/>
                </a:solidFill>
                <a:latin typeface="+mn-lt"/>
                <a:ea typeface="Verdana" pitchFamily="34" charset="0"/>
                <a:cs typeface="Verdana" pitchFamily="34" charset="0"/>
              </a:rPr>
              <a:t>LDA Model</a:t>
            </a:r>
          </a:p>
        </p:txBody>
      </p:sp>
      <p:sp>
        <p:nvSpPr>
          <p:cNvPr id="10" name="Rectangle 9">
            <a:extLst>
              <a:ext uri="{FF2B5EF4-FFF2-40B4-BE49-F238E27FC236}">
                <a16:creationId xmlns:a16="http://schemas.microsoft.com/office/drawing/2014/main" id="{161639DC-38EA-444E-9277-026C979B57CE}"/>
              </a:ext>
            </a:extLst>
          </p:cNvPr>
          <p:cNvSpPr/>
          <p:nvPr/>
        </p:nvSpPr>
        <p:spPr bwMode="auto">
          <a:xfrm>
            <a:off x="2563452" y="1290249"/>
            <a:ext cx="1284514" cy="124028"/>
          </a:xfrm>
          <a:prstGeom prst="rect">
            <a:avLst/>
          </a:prstGeom>
          <a:noFill/>
          <a:ln w="9525" cap="flat" cmpd="sng" algn="ctr">
            <a:solidFill>
              <a:srgbClr val="644F54"/>
            </a:solidFill>
            <a:prstDash val="solid"/>
            <a:miter lim="800000"/>
            <a:headEnd type="none" w="med" len="med"/>
            <a:tailEnd type="none" w="med" len="med"/>
          </a:ln>
        </p:spPr>
        <p:txBody>
          <a:bodyPr wrap="square" lIns="72000" tIns="72000" rIns="72000" bIns="72000" rtlCol="0" anchor="ctr"/>
          <a:lstStyle/>
          <a:p>
            <a:pPr algn="ctr" eaLnBrk="0" hangingPunct="0"/>
            <a:r>
              <a:rPr lang="en-SG" sz="900" dirty="0">
                <a:solidFill>
                  <a:schemeClr val="dk1"/>
                </a:solidFill>
                <a:latin typeface="+mn-lt"/>
                <a:ea typeface="Verdana" pitchFamily="34" charset="0"/>
                <a:cs typeface="Verdana" pitchFamily="34" charset="0"/>
              </a:rPr>
              <a:t>Problem</a:t>
            </a:r>
          </a:p>
        </p:txBody>
      </p:sp>
      <p:sp>
        <p:nvSpPr>
          <p:cNvPr id="11" name="Rectangle 10">
            <a:extLst>
              <a:ext uri="{FF2B5EF4-FFF2-40B4-BE49-F238E27FC236}">
                <a16:creationId xmlns:a16="http://schemas.microsoft.com/office/drawing/2014/main" id="{8E313B20-631D-4513-8D7E-09EE0AA892E4}"/>
              </a:ext>
            </a:extLst>
          </p:cNvPr>
          <p:cNvSpPr/>
          <p:nvPr/>
        </p:nvSpPr>
        <p:spPr bwMode="auto">
          <a:xfrm>
            <a:off x="2563452" y="1556927"/>
            <a:ext cx="1255303" cy="134081"/>
          </a:xfrm>
          <a:prstGeom prst="rect">
            <a:avLst/>
          </a:prstGeom>
          <a:noFill/>
          <a:ln w="9525" cap="flat" cmpd="sng" algn="ctr">
            <a:solidFill>
              <a:srgbClr val="644F54"/>
            </a:solidFill>
            <a:prstDash val="solid"/>
            <a:miter lim="800000"/>
            <a:headEnd type="none" w="med" len="med"/>
            <a:tailEnd type="none" w="med" len="med"/>
          </a:ln>
        </p:spPr>
        <p:txBody>
          <a:bodyPr wrap="square" lIns="72000" tIns="72000" rIns="72000" bIns="72000" rtlCol="0" anchor="ctr"/>
          <a:lstStyle/>
          <a:p>
            <a:pPr algn="ctr" eaLnBrk="0" hangingPunct="0"/>
            <a:r>
              <a:rPr lang="en-SG" sz="1000" dirty="0">
                <a:solidFill>
                  <a:schemeClr val="dk1"/>
                </a:solidFill>
                <a:latin typeface="+mn-lt"/>
                <a:ea typeface="Verdana" pitchFamily="34" charset="0"/>
                <a:cs typeface="Verdana" pitchFamily="34" charset="0"/>
              </a:rPr>
              <a:t>Symptom</a:t>
            </a:r>
          </a:p>
        </p:txBody>
      </p:sp>
      <p:sp>
        <p:nvSpPr>
          <p:cNvPr id="12" name="Rectangle 11">
            <a:extLst>
              <a:ext uri="{FF2B5EF4-FFF2-40B4-BE49-F238E27FC236}">
                <a16:creationId xmlns:a16="http://schemas.microsoft.com/office/drawing/2014/main" id="{00373A68-3526-4CA6-BB8F-A5CC7C1A1769}"/>
              </a:ext>
            </a:extLst>
          </p:cNvPr>
          <p:cNvSpPr/>
          <p:nvPr/>
        </p:nvSpPr>
        <p:spPr bwMode="auto">
          <a:xfrm>
            <a:off x="2563452" y="1823607"/>
            <a:ext cx="608691" cy="163185"/>
          </a:xfrm>
          <a:prstGeom prst="rect">
            <a:avLst/>
          </a:prstGeom>
          <a:noFill/>
          <a:ln w="9525" cap="flat" cmpd="sng" algn="ctr">
            <a:solidFill>
              <a:srgbClr val="644F54"/>
            </a:solidFill>
            <a:prstDash val="solid"/>
            <a:miter lim="800000"/>
            <a:headEnd type="none" w="med" len="med"/>
            <a:tailEnd type="none" w="med" len="med"/>
          </a:ln>
        </p:spPr>
        <p:txBody>
          <a:bodyPr wrap="square" lIns="72000" tIns="72000" rIns="72000" bIns="72000" rtlCol="0" anchor="ctr"/>
          <a:lstStyle/>
          <a:p>
            <a:pPr algn="ctr" eaLnBrk="0" hangingPunct="0"/>
            <a:r>
              <a:rPr lang="en-SG" sz="1000" dirty="0">
                <a:solidFill>
                  <a:schemeClr val="dk1"/>
                </a:solidFill>
                <a:latin typeface="+mn-lt"/>
                <a:ea typeface="Verdana" pitchFamily="34" charset="0"/>
                <a:cs typeface="Verdana" pitchFamily="34" charset="0"/>
              </a:rPr>
              <a:t>Yes</a:t>
            </a:r>
          </a:p>
        </p:txBody>
      </p:sp>
      <p:sp>
        <p:nvSpPr>
          <p:cNvPr id="13" name="Rectangle 12">
            <a:extLst>
              <a:ext uri="{FF2B5EF4-FFF2-40B4-BE49-F238E27FC236}">
                <a16:creationId xmlns:a16="http://schemas.microsoft.com/office/drawing/2014/main" id="{84F8DCDC-5AC0-4D70-AE14-931F76C92DF8}"/>
              </a:ext>
            </a:extLst>
          </p:cNvPr>
          <p:cNvSpPr/>
          <p:nvPr/>
        </p:nvSpPr>
        <p:spPr bwMode="auto">
          <a:xfrm>
            <a:off x="2563451" y="2104868"/>
            <a:ext cx="1465024" cy="170447"/>
          </a:xfrm>
          <a:prstGeom prst="rect">
            <a:avLst/>
          </a:prstGeom>
          <a:noFill/>
          <a:ln w="9525" cap="flat" cmpd="sng" algn="ctr">
            <a:solidFill>
              <a:srgbClr val="644F54"/>
            </a:solidFill>
            <a:prstDash val="solid"/>
            <a:miter lim="800000"/>
            <a:headEnd type="none" w="med" len="med"/>
            <a:tailEnd type="none" w="med" len="med"/>
          </a:ln>
        </p:spPr>
        <p:txBody>
          <a:bodyPr wrap="square" lIns="72000" tIns="72000" rIns="72000" bIns="72000" rtlCol="0" anchor="ctr"/>
          <a:lstStyle/>
          <a:p>
            <a:pPr algn="ctr" eaLnBrk="0" hangingPunct="0"/>
            <a:r>
              <a:rPr lang="en-SG" sz="1000" dirty="0">
                <a:solidFill>
                  <a:schemeClr val="dk1"/>
                </a:solidFill>
                <a:latin typeface="+mn-lt"/>
                <a:ea typeface="Verdana" pitchFamily="34" charset="0"/>
                <a:cs typeface="Verdana" pitchFamily="34" charset="0"/>
              </a:rPr>
              <a:t>Printer Name</a:t>
            </a:r>
          </a:p>
        </p:txBody>
      </p:sp>
      <p:sp>
        <p:nvSpPr>
          <p:cNvPr id="14" name="Rectangle 13">
            <a:extLst>
              <a:ext uri="{FF2B5EF4-FFF2-40B4-BE49-F238E27FC236}">
                <a16:creationId xmlns:a16="http://schemas.microsoft.com/office/drawing/2014/main" id="{5C42BF34-A214-4CF0-BF99-89264A6E2BDE}"/>
              </a:ext>
            </a:extLst>
          </p:cNvPr>
          <p:cNvSpPr/>
          <p:nvPr/>
        </p:nvSpPr>
        <p:spPr bwMode="auto">
          <a:xfrm>
            <a:off x="6673777" y="2220865"/>
            <a:ext cx="1255303" cy="134081"/>
          </a:xfrm>
          <a:prstGeom prst="rect">
            <a:avLst/>
          </a:prstGeom>
          <a:noFill/>
          <a:ln w="9525" cap="flat" cmpd="sng" algn="ctr">
            <a:solidFill>
              <a:srgbClr val="644F54"/>
            </a:solidFill>
            <a:prstDash val="solid"/>
            <a:miter lim="800000"/>
            <a:headEnd type="none" w="med" len="med"/>
            <a:tailEnd type="none" w="med" len="med"/>
          </a:ln>
        </p:spPr>
        <p:txBody>
          <a:bodyPr wrap="square" lIns="72000" tIns="72000" rIns="72000" bIns="72000" rtlCol="0" anchor="ctr"/>
          <a:lstStyle/>
          <a:p>
            <a:pPr algn="ctr" eaLnBrk="0" hangingPunct="0"/>
            <a:r>
              <a:rPr lang="en-SG" sz="1000" dirty="0">
                <a:solidFill>
                  <a:schemeClr val="dk1"/>
                </a:solidFill>
                <a:latin typeface="+mn-lt"/>
                <a:ea typeface="Verdana" pitchFamily="34" charset="0"/>
                <a:cs typeface="Verdana" pitchFamily="34" charset="0"/>
              </a:rPr>
              <a:t>Stored</a:t>
            </a:r>
          </a:p>
        </p:txBody>
      </p:sp>
      <p:sp>
        <p:nvSpPr>
          <p:cNvPr id="15" name="Rectangle 14">
            <a:extLst>
              <a:ext uri="{FF2B5EF4-FFF2-40B4-BE49-F238E27FC236}">
                <a16:creationId xmlns:a16="http://schemas.microsoft.com/office/drawing/2014/main" id="{5A09920A-9531-4400-89EB-F3F95F612CAA}"/>
              </a:ext>
            </a:extLst>
          </p:cNvPr>
          <p:cNvSpPr/>
          <p:nvPr/>
        </p:nvSpPr>
        <p:spPr bwMode="auto">
          <a:xfrm>
            <a:off x="6643284" y="1821950"/>
            <a:ext cx="1255303" cy="134081"/>
          </a:xfrm>
          <a:prstGeom prst="rect">
            <a:avLst/>
          </a:prstGeom>
          <a:noFill/>
          <a:ln w="9525" cap="flat" cmpd="sng" algn="ctr">
            <a:solidFill>
              <a:srgbClr val="644F54"/>
            </a:solidFill>
            <a:prstDash val="solid"/>
            <a:miter lim="800000"/>
            <a:headEnd type="none" w="med" len="med"/>
            <a:tailEnd type="none" w="med" len="med"/>
          </a:ln>
        </p:spPr>
        <p:txBody>
          <a:bodyPr wrap="square" lIns="72000" tIns="72000" rIns="72000" bIns="72000" rtlCol="0" anchor="ctr"/>
          <a:lstStyle/>
          <a:p>
            <a:pPr algn="ctr" eaLnBrk="0" hangingPunct="0"/>
            <a:r>
              <a:rPr lang="en-SG" sz="1000" dirty="0">
                <a:solidFill>
                  <a:schemeClr val="dk1"/>
                </a:solidFill>
                <a:latin typeface="+mn-lt"/>
                <a:ea typeface="Verdana" pitchFamily="34" charset="0"/>
                <a:cs typeface="Verdana" pitchFamily="34" charset="0"/>
              </a:rPr>
              <a:t>If yes</a:t>
            </a:r>
          </a:p>
        </p:txBody>
      </p:sp>
      <p:sp>
        <p:nvSpPr>
          <p:cNvPr id="16" name="Rectangle 15">
            <a:extLst>
              <a:ext uri="{FF2B5EF4-FFF2-40B4-BE49-F238E27FC236}">
                <a16:creationId xmlns:a16="http://schemas.microsoft.com/office/drawing/2014/main" id="{833C2634-7D02-480E-88A6-D0C1C732C135}"/>
              </a:ext>
            </a:extLst>
          </p:cNvPr>
          <p:cNvSpPr/>
          <p:nvPr/>
        </p:nvSpPr>
        <p:spPr bwMode="auto">
          <a:xfrm>
            <a:off x="2563452" y="2344892"/>
            <a:ext cx="1679113" cy="125028"/>
          </a:xfrm>
          <a:prstGeom prst="rect">
            <a:avLst/>
          </a:prstGeom>
          <a:noFill/>
          <a:ln w="9525" cap="flat" cmpd="sng" algn="ctr">
            <a:solidFill>
              <a:srgbClr val="644F54"/>
            </a:solidFill>
            <a:prstDash val="solid"/>
            <a:miter lim="800000"/>
            <a:headEnd type="none" w="med" len="med"/>
            <a:tailEnd type="none" w="med" len="med"/>
          </a:ln>
        </p:spPr>
        <p:txBody>
          <a:bodyPr wrap="square" lIns="72000" tIns="72000" rIns="72000" bIns="72000" rtlCol="0" anchor="ctr"/>
          <a:lstStyle/>
          <a:p>
            <a:pPr algn="ctr" eaLnBrk="0" hangingPunct="0"/>
            <a:r>
              <a:rPr lang="en-SG" sz="1000" dirty="0">
                <a:solidFill>
                  <a:schemeClr val="dk1"/>
                </a:solidFill>
                <a:latin typeface="+mn-lt"/>
                <a:ea typeface="Verdana" pitchFamily="34" charset="0"/>
                <a:cs typeface="Verdana" pitchFamily="34" charset="0"/>
              </a:rPr>
              <a:t>Computer Name</a:t>
            </a:r>
          </a:p>
        </p:txBody>
      </p:sp>
      <p:sp>
        <p:nvSpPr>
          <p:cNvPr id="17" name="Rectangle 16">
            <a:extLst>
              <a:ext uri="{FF2B5EF4-FFF2-40B4-BE49-F238E27FC236}">
                <a16:creationId xmlns:a16="http://schemas.microsoft.com/office/drawing/2014/main" id="{F2EF7C59-8E94-4008-B346-B8E2E5A44DA4}"/>
              </a:ext>
            </a:extLst>
          </p:cNvPr>
          <p:cNvSpPr/>
          <p:nvPr/>
        </p:nvSpPr>
        <p:spPr bwMode="auto">
          <a:xfrm>
            <a:off x="6673777" y="2469920"/>
            <a:ext cx="1255303" cy="134081"/>
          </a:xfrm>
          <a:prstGeom prst="rect">
            <a:avLst/>
          </a:prstGeom>
          <a:noFill/>
          <a:ln w="9525" cap="flat" cmpd="sng" algn="ctr">
            <a:solidFill>
              <a:srgbClr val="644F54"/>
            </a:solidFill>
            <a:prstDash val="solid"/>
            <a:miter lim="800000"/>
            <a:headEnd type="none" w="med" len="med"/>
            <a:tailEnd type="none" w="med" len="med"/>
          </a:ln>
        </p:spPr>
        <p:txBody>
          <a:bodyPr wrap="square" lIns="72000" tIns="72000" rIns="72000" bIns="72000" rtlCol="0" anchor="ctr"/>
          <a:lstStyle/>
          <a:p>
            <a:pPr algn="ctr" eaLnBrk="0" hangingPunct="0"/>
            <a:r>
              <a:rPr lang="en-SG" sz="1000" dirty="0">
                <a:solidFill>
                  <a:schemeClr val="dk1"/>
                </a:solidFill>
                <a:latin typeface="+mn-lt"/>
                <a:ea typeface="Verdana" pitchFamily="34" charset="0"/>
                <a:cs typeface="Verdana" pitchFamily="34" charset="0"/>
              </a:rPr>
              <a:t>Stored</a:t>
            </a:r>
          </a:p>
        </p:txBody>
      </p:sp>
      <p:sp>
        <p:nvSpPr>
          <p:cNvPr id="18" name="Rectangle 17">
            <a:extLst>
              <a:ext uri="{FF2B5EF4-FFF2-40B4-BE49-F238E27FC236}">
                <a16:creationId xmlns:a16="http://schemas.microsoft.com/office/drawing/2014/main" id="{6656E644-1DA2-48AA-BE93-857B3F66CA05}"/>
              </a:ext>
            </a:extLst>
          </p:cNvPr>
          <p:cNvSpPr/>
          <p:nvPr/>
        </p:nvSpPr>
        <p:spPr bwMode="auto">
          <a:xfrm>
            <a:off x="6673777" y="2887312"/>
            <a:ext cx="1255303" cy="134081"/>
          </a:xfrm>
          <a:prstGeom prst="rect">
            <a:avLst/>
          </a:prstGeom>
          <a:noFill/>
          <a:ln w="9525" cap="flat" cmpd="sng" algn="ctr">
            <a:solidFill>
              <a:srgbClr val="644F54"/>
            </a:solidFill>
            <a:prstDash val="solid"/>
            <a:miter lim="800000"/>
            <a:headEnd type="none" w="med" len="med"/>
            <a:tailEnd type="none" w="med" len="med"/>
          </a:ln>
        </p:spPr>
        <p:txBody>
          <a:bodyPr wrap="square" lIns="72000" tIns="72000" rIns="72000" bIns="72000" rtlCol="0" anchor="ctr"/>
          <a:lstStyle/>
          <a:p>
            <a:pPr algn="ctr" eaLnBrk="0" hangingPunct="0"/>
            <a:r>
              <a:rPr lang="en-SG" sz="1000" dirty="0">
                <a:solidFill>
                  <a:schemeClr val="dk1"/>
                </a:solidFill>
                <a:latin typeface="+mn-lt"/>
                <a:ea typeface="Verdana" pitchFamily="34" charset="0"/>
                <a:cs typeface="Verdana" pitchFamily="34" charset="0"/>
              </a:rPr>
              <a:t>If yes</a:t>
            </a:r>
          </a:p>
        </p:txBody>
      </p:sp>
      <p:sp>
        <p:nvSpPr>
          <p:cNvPr id="19" name="Rectangle 18">
            <a:extLst>
              <a:ext uri="{FF2B5EF4-FFF2-40B4-BE49-F238E27FC236}">
                <a16:creationId xmlns:a16="http://schemas.microsoft.com/office/drawing/2014/main" id="{D4FABFE7-A367-49DA-84EA-F45BC51186D5}"/>
              </a:ext>
            </a:extLst>
          </p:cNvPr>
          <p:cNvSpPr/>
          <p:nvPr/>
        </p:nvSpPr>
        <p:spPr bwMode="auto">
          <a:xfrm>
            <a:off x="6673777" y="3183729"/>
            <a:ext cx="1255303" cy="496772"/>
          </a:xfrm>
          <a:prstGeom prst="rect">
            <a:avLst/>
          </a:prstGeom>
          <a:noFill/>
          <a:ln w="9525" cap="flat" cmpd="sng" algn="ctr">
            <a:solidFill>
              <a:srgbClr val="644F54"/>
            </a:solidFill>
            <a:prstDash val="solid"/>
            <a:miter lim="800000"/>
            <a:headEnd type="none" w="med" len="med"/>
            <a:tailEnd type="none" w="med" len="med"/>
          </a:ln>
        </p:spPr>
        <p:txBody>
          <a:bodyPr wrap="square" lIns="72000" tIns="72000" rIns="72000" bIns="72000" rtlCol="0" anchor="ctr"/>
          <a:lstStyle/>
          <a:p>
            <a:pPr algn="ctr" eaLnBrk="0" hangingPunct="0"/>
            <a:r>
              <a:rPr lang="en-SG" sz="1000" dirty="0">
                <a:solidFill>
                  <a:schemeClr val="dk1"/>
                </a:solidFill>
                <a:latin typeface="+mn-lt"/>
                <a:ea typeface="Verdana" pitchFamily="34" charset="0"/>
                <a:cs typeface="Verdana" pitchFamily="34" charset="0"/>
              </a:rPr>
              <a:t>Bot will check the ipaddress </a:t>
            </a:r>
          </a:p>
        </p:txBody>
      </p:sp>
      <p:sp>
        <p:nvSpPr>
          <p:cNvPr id="20" name="Rectangle 19">
            <a:extLst>
              <a:ext uri="{FF2B5EF4-FFF2-40B4-BE49-F238E27FC236}">
                <a16:creationId xmlns:a16="http://schemas.microsoft.com/office/drawing/2014/main" id="{F5FDEB90-82E2-4A6E-868D-BE894C643035}"/>
              </a:ext>
            </a:extLst>
          </p:cNvPr>
          <p:cNvSpPr/>
          <p:nvPr/>
        </p:nvSpPr>
        <p:spPr bwMode="auto">
          <a:xfrm>
            <a:off x="2608721" y="2736602"/>
            <a:ext cx="1633845" cy="643223"/>
          </a:xfrm>
          <a:prstGeom prst="rect">
            <a:avLst/>
          </a:prstGeom>
          <a:noFill/>
          <a:ln w="9525" cap="flat" cmpd="sng" algn="ctr">
            <a:solidFill>
              <a:srgbClr val="644F54"/>
            </a:solidFill>
            <a:prstDash val="solid"/>
            <a:miter lim="800000"/>
            <a:headEnd type="none" w="med" len="med"/>
            <a:tailEnd type="none" w="med" len="med"/>
          </a:ln>
        </p:spPr>
        <p:txBody>
          <a:bodyPr wrap="square" lIns="72000" tIns="72000" rIns="72000" bIns="72000" rtlCol="0" anchor="ctr"/>
          <a:lstStyle/>
          <a:p>
            <a:pPr algn="ctr" eaLnBrk="0" hangingPunct="0"/>
            <a:r>
              <a:rPr lang="en-SG" sz="1000" dirty="0">
                <a:solidFill>
                  <a:schemeClr val="dk1"/>
                </a:solidFill>
                <a:latin typeface="+mn-lt"/>
                <a:ea typeface="Verdana" pitchFamily="34" charset="0"/>
                <a:cs typeface="Verdana" pitchFamily="34" charset="0"/>
              </a:rPr>
              <a:t>Ask User to check LAN cable with some sample pics</a:t>
            </a:r>
          </a:p>
        </p:txBody>
      </p:sp>
      <p:sp>
        <p:nvSpPr>
          <p:cNvPr id="21" name="Rectangle 20">
            <a:extLst>
              <a:ext uri="{FF2B5EF4-FFF2-40B4-BE49-F238E27FC236}">
                <a16:creationId xmlns:a16="http://schemas.microsoft.com/office/drawing/2014/main" id="{FF7B824A-6332-48CF-B81E-B7BCAA4636C8}"/>
              </a:ext>
            </a:extLst>
          </p:cNvPr>
          <p:cNvSpPr/>
          <p:nvPr/>
        </p:nvSpPr>
        <p:spPr bwMode="auto">
          <a:xfrm>
            <a:off x="2608721" y="3697009"/>
            <a:ext cx="1239246" cy="450751"/>
          </a:xfrm>
          <a:prstGeom prst="rect">
            <a:avLst/>
          </a:prstGeom>
          <a:noFill/>
          <a:ln w="9525" cap="flat" cmpd="sng" algn="ctr">
            <a:solidFill>
              <a:srgbClr val="644F54"/>
            </a:solidFill>
            <a:prstDash val="solid"/>
            <a:miter lim="800000"/>
            <a:headEnd type="none" w="med" len="med"/>
            <a:tailEnd type="none" w="med" len="med"/>
          </a:ln>
        </p:spPr>
        <p:txBody>
          <a:bodyPr wrap="square" lIns="72000" tIns="72000" rIns="72000" bIns="72000" rtlCol="0" anchor="ctr"/>
          <a:lstStyle/>
          <a:p>
            <a:pPr algn="ctr" eaLnBrk="0" hangingPunct="0"/>
            <a:r>
              <a:rPr lang="en-SG" sz="1000" dirty="0">
                <a:solidFill>
                  <a:schemeClr val="dk1"/>
                </a:solidFill>
                <a:latin typeface="+mn-lt"/>
                <a:ea typeface="Verdana" pitchFamily="34" charset="0"/>
                <a:cs typeface="Verdana" pitchFamily="34" charset="0"/>
              </a:rPr>
              <a:t>Ask User if there is any red light</a:t>
            </a:r>
          </a:p>
        </p:txBody>
      </p:sp>
      <p:sp>
        <p:nvSpPr>
          <p:cNvPr id="22" name="Rectangle 21">
            <a:extLst>
              <a:ext uri="{FF2B5EF4-FFF2-40B4-BE49-F238E27FC236}">
                <a16:creationId xmlns:a16="http://schemas.microsoft.com/office/drawing/2014/main" id="{FD386F86-6758-494E-B445-3251DE7FBC88}"/>
              </a:ext>
            </a:extLst>
          </p:cNvPr>
          <p:cNvSpPr/>
          <p:nvPr/>
        </p:nvSpPr>
        <p:spPr bwMode="auto">
          <a:xfrm>
            <a:off x="6667191" y="3779939"/>
            <a:ext cx="1255303" cy="134081"/>
          </a:xfrm>
          <a:prstGeom prst="rect">
            <a:avLst/>
          </a:prstGeom>
          <a:noFill/>
          <a:ln w="9525" cap="flat" cmpd="sng" algn="ctr">
            <a:solidFill>
              <a:srgbClr val="644F54"/>
            </a:solidFill>
            <a:prstDash val="solid"/>
            <a:miter lim="800000"/>
            <a:headEnd type="none" w="med" len="med"/>
            <a:tailEnd type="none" w="med" len="med"/>
          </a:ln>
        </p:spPr>
        <p:txBody>
          <a:bodyPr wrap="square" lIns="72000" tIns="72000" rIns="72000" bIns="72000" rtlCol="0" anchor="ctr"/>
          <a:lstStyle/>
          <a:p>
            <a:pPr algn="ctr" eaLnBrk="0" hangingPunct="0"/>
            <a:r>
              <a:rPr lang="en-SG" sz="1000" dirty="0">
                <a:solidFill>
                  <a:schemeClr val="dk1"/>
                </a:solidFill>
                <a:latin typeface="+mn-lt"/>
                <a:ea typeface="Verdana" pitchFamily="34" charset="0"/>
                <a:cs typeface="Verdana" pitchFamily="34" charset="0"/>
              </a:rPr>
              <a:t>If No</a:t>
            </a:r>
          </a:p>
        </p:txBody>
      </p:sp>
      <p:sp>
        <p:nvSpPr>
          <p:cNvPr id="23" name="Rectangle 22">
            <a:extLst>
              <a:ext uri="{FF2B5EF4-FFF2-40B4-BE49-F238E27FC236}">
                <a16:creationId xmlns:a16="http://schemas.microsoft.com/office/drawing/2014/main" id="{86B14AC9-D1CF-4175-B0AF-1E367EA23683}"/>
              </a:ext>
            </a:extLst>
          </p:cNvPr>
          <p:cNvSpPr/>
          <p:nvPr/>
        </p:nvSpPr>
        <p:spPr bwMode="auto">
          <a:xfrm>
            <a:off x="6673777" y="4321450"/>
            <a:ext cx="1957541" cy="134081"/>
          </a:xfrm>
          <a:prstGeom prst="rect">
            <a:avLst/>
          </a:prstGeom>
          <a:noFill/>
          <a:ln w="9525" cap="flat" cmpd="sng" algn="ctr">
            <a:solidFill>
              <a:srgbClr val="644F54"/>
            </a:solidFill>
            <a:prstDash val="solid"/>
            <a:miter lim="800000"/>
            <a:headEnd type="none" w="med" len="med"/>
            <a:tailEnd type="none" w="med" len="med"/>
          </a:ln>
        </p:spPr>
        <p:txBody>
          <a:bodyPr wrap="square" lIns="72000" tIns="72000" rIns="72000" bIns="72000" rtlCol="0" anchor="ctr"/>
          <a:lstStyle/>
          <a:p>
            <a:pPr algn="ctr" eaLnBrk="0" hangingPunct="0"/>
            <a:r>
              <a:rPr lang="en-SG" sz="1000" dirty="0" err="1">
                <a:solidFill>
                  <a:schemeClr val="dk1"/>
                </a:solidFill>
                <a:latin typeface="+mn-lt"/>
                <a:ea typeface="Verdana" pitchFamily="34" charset="0"/>
                <a:cs typeface="Verdana" pitchFamily="34" charset="0"/>
              </a:rPr>
              <a:t>Cartrige</a:t>
            </a:r>
            <a:r>
              <a:rPr lang="en-SG" sz="1000" dirty="0">
                <a:solidFill>
                  <a:schemeClr val="dk1"/>
                </a:solidFill>
                <a:latin typeface="+mn-lt"/>
                <a:ea typeface="Verdana" pitchFamily="34" charset="0"/>
                <a:cs typeface="Verdana" pitchFamily="34" charset="0"/>
              </a:rPr>
              <a:t> status</a:t>
            </a:r>
          </a:p>
        </p:txBody>
      </p:sp>
      <p:sp>
        <p:nvSpPr>
          <p:cNvPr id="24" name="Rectangle 23">
            <a:extLst>
              <a:ext uri="{FF2B5EF4-FFF2-40B4-BE49-F238E27FC236}">
                <a16:creationId xmlns:a16="http://schemas.microsoft.com/office/drawing/2014/main" id="{6561CE0B-CC59-4475-A643-C0F520E3343F}"/>
              </a:ext>
            </a:extLst>
          </p:cNvPr>
          <p:cNvSpPr/>
          <p:nvPr/>
        </p:nvSpPr>
        <p:spPr bwMode="auto">
          <a:xfrm>
            <a:off x="6667190" y="4502541"/>
            <a:ext cx="1957539" cy="170025"/>
          </a:xfrm>
          <a:prstGeom prst="rect">
            <a:avLst/>
          </a:prstGeom>
          <a:noFill/>
          <a:ln w="9525" cap="flat" cmpd="sng" algn="ctr">
            <a:solidFill>
              <a:srgbClr val="644F54"/>
            </a:solidFill>
            <a:prstDash val="solid"/>
            <a:miter lim="800000"/>
            <a:headEnd type="none" w="med" len="med"/>
            <a:tailEnd type="none" w="med" len="med"/>
          </a:ln>
        </p:spPr>
        <p:txBody>
          <a:bodyPr wrap="square" lIns="72000" tIns="72000" rIns="72000" bIns="72000" rtlCol="0" anchor="ctr"/>
          <a:lstStyle/>
          <a:p>
            <a:pPr algn="ctr" eaLnBrk="0" hangingPunct="0"/>
            <a:r>
              <a:rPr lang="en-SG" sz="1000" dirty="0">
                <a:solidFill>
                  <a:schemeClr val="dk1"/>
                </a:solidFill>
                <a:latin typeface="+mn-lt"/>
                <a:ea typeface="Verdana" pitchFamily="34" charset="0"/>
                <a:cs typeface="Verdana" pitchFamily="34" charset="0"/>
              </a:rPr>
              <a:t>Queue status</a:t>
            </a:r>
          </a:p>
        </p:txBody>
      </p:sp>
      <p:sp>
        <p:nvSpPr>
          <p:cNvPr id="25" name="Rectangle 24">
            <a:extLst>
              <a:ext uri="{FF2B5EF4-FFF2-40B4-BE49-F238E27FC236}">
                <a16:creationId xmlns:a16="http://schemas.microsoft.com/office/drawing/2014/main" id="{A2810BE1-C1D4-477F-84BF-38DF20316AA3}"/>
              </a:ext>
            </a:extLst>
          </p:cNvPr>
          <p:cNvSpPr/>
          <p:nvPr/>
        </p:nvSpPr>
        <p:spPr bwMode="auto">
          <a:xfrm>
            <a:off x="6667190" y="3993692"/>
            <a:ext cx="1964128" cy="267110"/>
          </a:xfrm>
          <a:prstGeom prst="rect">
            <a:avLst/>
          </a:prstGeom>
          <a:noFill/>
          <a:ln w="9525" cap="flat" cmpd="sng" algn="ctr">
            <a:solidFill>
              <a:srgbClr val="644F54"/>
            </a:solidFill>
            <a:prstDash val="solid"/>
            <a:miter lim="800000"/>
            <a:headEnd type="none" w="med" len="med"/>
            <a:tailEnd type="none" w="med" len="med"/>
          </a:ln>
        </p:spPr>
        <p:txBody>
          <a:bodyPr wrap="square" lIns="72000" tIns="72000" rIns="72000" bIns="72000" rtlCol="0" anchor="ctr"/>
          <a:lstStyle/>
          <a:p>
            <a:pPr algn="ctr" eaLnBrk="0" hangingPunct="0"/>
            <a:r>
              <a:rPr lang="en-SG" sz="1000" dirty="0">
                <a:solidFill>
                  <a:schemeClr val="dk1"/>
                </a:solidFill>
                <a:latin typeface="+mn-lt"/>
                <a:ea typeface="Verdana" pitchFamily="34" charset="0"/>
                <a:cs typeface="Verdana" pitchFamily="34" charset="0"/>
              </a:rPr>
              <a:t>Configuration check</a:t>
            </a:r>
          </a:p>
        </p:txBody>
      </p:sp>
      <p:sp>
        <p:nvSpPr>
          <p:cNvPr id="26" name="Rectangle 25">
            <a:extLst>
              <a:ext uri="{FF2B5EF4-FFF2-40B4-BE49-F238E27FC236}">
                <a16:creationId xmlns:a16="http://schemas.microsoft.com/office/drawing/2014/main" id="{3E2C9F4D-AFB1-4441-B59E-401D19A4E14E}"/>
              </a:ext>
            </a:extLst>
          </p:cNvPr>
          <p:cNvSpPr/>
          <p:nvPr/>
        </p:nvSpPr>
        <p:spPr bwMode="auto">
          <a:xfrm>
            <a:off x="2608721" y="4394278"/>
            <a:ext cx="1526802" cy="163185"/>
          </a:xfrm>
          <a:prstGeom prst="rect">
            <a:avLst/>
          </a:prstGeom>
          <a:noFill/>
          <a:ln w="9525" cap="flat" cmpd="sng" algn="ctr">
            <a:solidFill>
              <a:srgbClr val="644F54"/>
            </a:solidFill>
            <a:prstDash val="solid"/>
            <a:miter lim="800000"/>
            <a:headEnd type="none" w="med" len="med"/>
            <a:tailEnd type="none" w="med" len="med"/>
          </a:ln>
        </p:spPr>
        <p:txBody>
          <a:bodyPr wrap="square" lIns="72000" tIns="72000" rIns="72000" bIns="72000" rtlCol="0" anchor="ctr"/>
          <a:lstStyle/>
          <a:p>
            <a:pPr algn="ctr" eaLnBrk="0" hangingPunct="0"/>
            <a:r>
              <a:rPr lang="en-SG" sz="1000" dirty="0">
                <a:solidFill>
                  <a:schemeClr val="dk1"/>
                </a:solidFill>
                <a:latin typeface="+mn-lt"/>
                <a:ea typeface="Verdana" pitchFamily="34" charset="0"/>
                <a:cs typeface="Verdana" pitchFamily="34" charset="0"/>
              </a:rPr>
              <a:t>Status Table</a:t>
            </a:r>
          </a:p>
        </p:txBody>
      </p:sp>
      <p:sp>
        <p:nvSpPr>
          <p:cNvPr id="27" name="Rectangle 26">
            <a:extLst>
              <a:ext uri="{FF2B5EF4-FFF2-40B4-BE49-F238E27FC236}">
                <a16:creationId xmlns:a16="http://schemas.microsoft.com/office/drawing/2014/main" id="{7AE1996C-52DB-4E50-A2FF-15D8A6CF588D}"/>
              </a:ext>
            </a:extLst>
          </p:cNvPr>
          <p:cNvSpPr/>
          <p:nvPr/>
        </p:nvSpPr>
        <p:spPr bwMode="auto">
          <a:xfrm>
            <a:off x="3221256" y="1816345"/>
            <a:ext cx="807223" cy="170447"/>
          </a:xfrm>
          <a:prstGeom prst="rect">
            <a:avLst/>
          </a:prstGeom>
          <a:noFill/>
          <a:ln w="9525" cap="flat" cmpd="sng" algn="ctr">
            <a:solidFill>
              <a:srgbClr val="644F54"/>
            </a:solidFill>
            <a:prstDash val="solid"/>
            <a:miter lim="800000"/>
            <a:headEnd type="none" w="med" len="med"/>
            <a:tailEnd type="none" w="med" len="med"/>
          </a:ln>
        </p:spPr>
        <p:txBody>
          <a:bodyPr wrap="square" lIns="72000" tIns="72000" rIns="72000" bIns="72000" rtlCol="0" anchor="ctr"/>
          <a:lstStyle/>
          <a:p>
            <a:pPr algn="ctr" eaLnBrk="0" hangingPunct="0"/>
            <a:r>
              <a:rPr lang="en-SG" sz="1000" dirty="0">
                <a:solidFill>
                  <a:schemeClr val="dk1"/>
                </a:solidFill>
                <a:latin typeface="+mn-lt"/>
                <a:ea typeface="Verdana" pitchFamily="34" charset="0"/>
                <a:cs typeface="Verdana" pitchFamily="34" charset="0"/>
              </a:rPr>
              <a:t>Other</a:t>
            </a:r>
          </a:p>
        </p:txBody>
      </p:sp>
      <p:sp>
        <p:nvSpPr>
          <p:cNvPr id="28" name="Rectangle 27">
            <a:extLst>
              <a:ext uri="{FF2B5EF4-FFF2-40B4-BE49-F238E27FC236}">
                <a16:creationId xmlns:a16="http://schemas.microsoft.com/office/drawing/2014/main" id="{85CB198E-52E1-4A2C-901F-D2F83FDA7566}"/>
              </a:ext>
            </a:extLst>
          </p:cNvPr>
          <p:cNvSpPr/>
          <p:nvPr/>
        </p:nvSpPr>
        <p:spPr bwMode="auto">
          <a:xfrm>
            <a:off x="2597019" y="3449223"/>
            <a:ext cx="608691" cy="163185"/>
          </a:xfrm>
          <a:prstGeom prst="rect">
            <a:avLst/>
          </a:prstGeom>
          <a:noFill/>
          <a:ln w="9525" cap="flat" cmpd="sng" algn="ctr">
            <a:solidFill>
              <a:srgbClr val="644F54"/>
            </a:solidFill>
            <a:prstDash val="solid"/>
            <a:miter lim="800000"/>
            <a:headEnd type="none" w="med" len="med"/>
            <a:tailEnd type="none" w="med" len="med"/>
          </a:ln>
        </p:spPr>
        <p:txBody>
          <a:bodyPr wrap="square" lIns="72000" tIns="72000" rIns="72000" bIns="72000" rtlCol="0" anchor="ctr"/>
          <a:lstStyle/>
          <a:p>
            <a:pPr algn="ctr" eaLnBrk="0" hangingPunct="0"/>
            <a:r>
              <a:rPr lang="en-SG" sz="1000" dirty="0">
                <a:solidFill>
                  <a:schemeClr val="dk1"/>
                </a:solidFill>
                <a:latin typeface="+mn-lt"/>
                <a:ea typeface="Verdana" pitchFamily="34" charset="0"/>
                <a:cs typeface="Verdana" pitchFamily="34" charset="0"/>
              </a:rPr>
              <a:t>Yes</a:t>
            </a:r>
          </a:p>
        </p:txBody>
      </p:sp>
      <p:sp>
        <p:nvSpPr>
          <p:cNvPr id="29" name="Rectangle 28">
            <a:extLst>
              <a:ext uri="{FF2B5EF4-FFF2-40B4-BE49-F238E27FC236}">
                <a16:creationId xmlns:a16="http://schemas.microsoft.com/office/drawing/2014/main" id="{57B4BC68-95D8-440E-B67E-3BEEE8AF8504}"/>
              </a:ext>
            </a:extLst>
          </p:cNvPr>
          <p:cNvSpPr/>
          <p:nvPr/>
        </p:nvSpPr>
        <p:spPr bwMode="auto">
          <a:xfrm>
            <a:off x="3289630" y="3449223"/>
            <a:ext cx="608691" cy="163185"/>
          </a:xfrm>
          <a:prstGeom prst="rect">
            <a:avLst/>
          </a:prstGeom>
          <a:noFill/>
          <a:ln w="9525" cap="flat" cmpd="sng" algn="ctr">
            <a:solidFill>
              <a:srgbClr val="644F54"/>
            </a:solidFill>
            <a:prstDash val="solid"/>
            <a:miter lim="800000"/>
            <a:headEnd type="none" w="med" len="med"/>
            <a:tailEnd type="none" w="med" len="med"/>
          </a:ln>
        </p:spPr>
        <p:txBody>
          <a:bodyPr wrap="square" lIns="72000" tIns="72000" rIns="72000" bIns="72000" rtlCol="0" anchor="ctr"/>
          <a:lstStyle/>
          <a:p>
            <a:pPr algn="ctr" eaLnBrk="0" hangingPunct="0"/>
            <a:r>
              <a:rPr lang="en-SG" sz="1000" dirty="0">
                <a:solidFill>
                  <a:schemeClr val="dk1"/>
                </a:solidFill>
                <a:latin typeface="+mn-lt"/>
                <a:ea typeface="Verdana" pitchFamily="34" charset="0"/>
                <a:cs typeface="Verdana" pitchFamily="34" charset="0"/>
              </a:rPr>
              <a:t>No</a:t>
            </a:r>
          </a:p>
        </p:txBody>
      </p:sp>
      <p:sp>
        <p:nvSpPr>
          <p:cNvPr id="30" name="Rectangle 29">
            <a:extLst>
              <a:ext uri="{FF2B5EF4-FFF2-40B4-BE49-F238E27FC236}">
                <a16:creationId xmlns:a16="http://schemas.microsoft.com/office/drawing/2014/main" id="{A7C31FBC-CDB8-4CB1-8BF7-1186DF4D4783}"/>
              </a:ext>
            </a:extLst>
          </p:cNvPr>
          <p:cNvSpPr/>
          <p:nvPr/>
        </p:nvSpPr>
        <p:spPr bwMode="auto">
          <a:xfrm>
            <a:off x="2612565" y="4150095"/>
            <a:ext cx="608691" cy="163185"/>
          </a:xfrm>
          <a:prstGeom prst="rect">
            <a:avLst/>
          </a:prstGeom>
          <a:noFill/>
          <a:ln w="9525" cap="flat" cmpd="sng" algn="ctr">
            <a:solidFill>
              <a:srgbClr val="644F54"/>
            </a:solidFill>
            <a:prstDash val="solid"/>
            <a:miter lim="800000"/>
            <a:headEnd type="none" w="med" len="med"/>
            <a:tailEnd type="none" w="med" len="med"/>
          </a:ln>
        </p:spPr>
        <p:txBody>
          <a:bodyPr wrap="square" lIns="72000" tIns="72000" rIns="72000" bIns="72000" rtlCol="0" anchor="ctr"/>
          <a:lstStyle/>
          <a:p>
            <a:pPr algn="ctr" eaLnBrk="0" hangingPunct="0"/>
            <a:r>
              <a:rPr lang="en-SG" sz="1000" dirty="0">
                <a:solidFill>
                  <a:schemeClr val="dk1"/>
                </a:solidFill>
                <a:latin typeface="+mn-lt"/>
                <a:ea typeface="Verdana" pitchFamily="34" charset="0"/>
                <a:cs typeface="Verdana" pitchFamily="34" charset="0"/>
              </a:rPr>
              <a:t>Yes</a:t>
            </a:r>
          </a:p>
        </p:txBody>
      </p:sp>
      <p:sp>
        <p:nvSpPr>
          <p:cNvPr id="31" name="Rectangle 30">
            <a:extLst>
              <a:ext uri="{FF2B5EF4-FFF2-40B4-BE49-F238E27FC236}">
                <a16:creationId xmlns:a16="http://schemas.microsoft.com/office/drawing/2014/main" id="{7C09D2F3-885B-43A6-A28E-E402B7819F4D}"/>
              </a:ext>
            </a:extLst>
          </p:cNvPr>
          <p:cNvSpPr/>
          <p:nvPr/>
        </p:nvSpPr>
        <p:spPr bwMode="auto">
          <a:xfrm>
            <a:off x="3255332" y="4150095"/>
            <a:ext cx="608691" cy="163185"/>
          </a:xfrm>
          <a:prstGeom prst="rect">
            <a:avLst/>
          </a:prstGeom>
          <a:noFill/>
          <a:ln w="9525" cap="flat" cmpd="sng" algn="ctr">
            <a:solidFill>
              <a:srgbClr val="644F54"/>
            </a:solidFill>
            <a:prstDash val="solid"/>
            <a:miter lim="800000"/>
            <a:headEnd type="none" w="med" len="med"/>
            <a:tailEnd type="none" w="med" len="med"/>
          </a:ln>
        </p:spPr>
        <p:txBody>
          <a:bodyPr wrap="square" lIns="72000" tIns="72000" rIns="72000" bIns="72000" rtlCol="0" anchor="ctr"/>
          <a:lstStyle/>
          <a:p>
            <a:pPr algn="ctr" eaLnBrk="0" hangingPunct="0"/>
            <a:r>
              <a:rPr lang="en-SG" sz="1000" dirty="0">
                <a:solidFill>
                  <a:schemeClr val="dk1"/>
                </a:solidFill>
                <a:latin typeface="+mn-lt"/>
                <a:ea typeface="Verdana" pitchFamily="34" charset="0"/>
                <a:cs typeface="Verdana" pitchFamily="34" charset="0"/>
              </a:rPr>
              <a:t>No</a:t>
            </a:r>
          </a:p>
        </p:txBody>
      </p:sp>
      <p:sp>
        <p:nvSpPr>
          <p:cNvPr id="32" name="Left Brace 31">
            <a:extLst>
              <a:ext uri="{FF2B5EF4-FFF2-40B4-BE49-F238E27FC236}">
                <a16:creationId xmlns:a16="http://schemas.microsoft.com/office/drawing/2014/main" id="{0F131321-53F4-4999-BB07-88B16B0A47F6}"/>
              </a:ext>
            </a:extLst>
          </p:cNvPr>
          <p:cNvSpPr/>
          <p:nvPr/>
        </p:nvSpPr>
        <p:spPr>
          <a:xfrm>
            <a:off x="6276378" y="4101781"/>
            <a:ext cx="321129" cy="570785"/>
          </a:xfrm>
          <a:prstGeom prst="leftBrace">
            <a:avLst>
              <a:gd name="adj1" fmla="val 8333"/>
              <a:gd name="adj2" fmla="val 64732"/>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SG" dirty="0"/>
          </a:p>
        </p:txBody>
      </p:sp>
      <p:cxnSp>
        <p:nvCxnSpPr>
          <p:cNvPr id="33" name="Straight Arrow Connector 32">
            <a:extLst>
              <a:ext uri="{FF2B5EF4-FFF2-40B4-BE49-F238E27FC236}">
                <a16:creationId xmlns:a16="http://schemas.microsoft.com/office/drawing/2014/main" id="{D57AE317-C409-4397-9505-E1D76E4A2E80}"/>
              </a:ext>
            </a:extLst>
          </p:cNvPr>
          <p:cNvCxnSpPr>
            <a:cxnSpLocks/>
            <a:stCxn id="32" idx="1"/>
            <a:endCxn id="26" idx="3"/>
          </p:cNvCxnSpPr>
          <p:nvPr/>
        </p:nvCxnSpPr>
        <p:spPr>
          <a:xfrm flipH="1">
            <a:off x="4135523" y="4471262"/>
            <a:ext cx="2140855" cy="4609"/>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Connector: Elbow 33">
            <a:extLst>
              <a:ext uri="{FF2B5EF4-FFF2-40B4-BE49-F238E27FC236}">
                <a16:creationId xmlns:a16="http://schemas.microsoft.com/office/drawing/2014/main" id="{0B5F7C7D-6D28-48D6-9F46-E8CA6C6C4189}"/>
              </a:ext>
            </a:extLst>
          </p:cNvPr>
          <p:cNvCxnSpPr>
            <a:cxnSpLocks/>
          </p:cNvCxnSpPr>
          <p:nvPr/>
        </p:nvCxnSpPr>
        <p:spPr>
          <a:xfrm rot="5400000" flipH="1" flipV="1">
            <a:off x="4469898" y="1403733"/>
            <a:ext cx="658055" cy="3772412"/>
          </a:xfrm>
          <a:prstGeom prst="bentConnector4">
            <a:avLst>
              <a:gd name="adj1" fmla="val -8785"/>
              <a:gd name="adj2" fmla="val 54034"/>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4FFDAF12-FF77-43CD-996D-0963E4DBCB50}"/>
              </a:ext>
            </a:extLst>
          </p:cNvPr>
          <p:cNvCxnSpPr>
            <a:cxnSpLocks/>
            <a:stCxn id="18" idx="2"/>
            <a:endCxn id="19" idx="0"/>
          </p:cNvCxnSpPr>
          <p:nvPr/>
        </p:nvCxnSpPr>
        <p:spPr>
          <a:xfrm>
            <a:off x="7301429" y="3021393"/>
            <a:ext cx="0" cy="16233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D865E9A2-EA36-4FDD-A116-655849FD6BC9}"/>
              </a:ext>
            </a:extLst>
          </p:cNvPr>
          <p:cNvCxnSpPr>
            <a:cxnSpLocks/>
          </p:cNvCxnSpPr>
          <p:nvPr/>
        </p:nvCxnSpPr>
        <p:spPr>
          <a:xfrm rot="5400000" flipH="1" flipV="1">
            <a:off x="4730547" y="57324"/>
            <a:ext cx="97802" cy="3775485"/>
          </a:xfrm>
          <a:prstGeom prst="bentConnector4">
            <a:avLst>
              <a:gd name="adj1" fmla="val -87768"/>
              <a:gd name="adj2" fmla="val 5403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3205C2EA-BD19-4025-BA9F-2F359137052F}"/>
              </a:ext>
            </a:extLst>
          </p:cNvPr>
          <p:cNvCxnSpPr>
            <a:cxnSpLocks/>
          </p:cNvCxnSpPr>
          <p:nvPr/>
        </p:nvCxnSpPr>
        <p:spPr>
          <a:xfrm>
            <a:off x="3855303" y="1345485"/>
            <a:ext cx="2749540" cy="23939"/>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Connector: Elbow 37">
            <a:extLst>
              <a:ext uri="{FF2B5EF4-FFF2-40B4-BE49-F238E27FC236}">
                <a16:creationId xmlns:a16="http://schemas.microsoft.com/office/drawing/2014/main" id="{406687B9-191E-41EE-9936-4242CEBCB71E}"/>
              </a:ext>
            </a:extLst>
          </p:cNvPr>
          <p:cNvCxnSpPr>
            <a:cxnSpLocks/>
          </p:cNvCxnSpPr>
          <p:nvPr/>
        </p:nvCxnSpPr>
        <p:spPr>
          <a:xfrm rot="5400000">
            <a:off x="5431593" y="-162231"/>
            <a:ext cx="180728" cy="3406401"/>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Connector: Elbow 38">
            <a:extLst>
              <a:ext uri="{FF2B5EF4-FFF2-40B4-BE49-F238E27FC236}">
                <a16:creationId xmlns:a16="http://schemas.microsoft.com/office/drawing/2014/main" id="{E7370FF2-58BA-4832-A591-F6F2DE6C3427}"/>
              </a:ext>
            </a:extLst>
          </p:cNvPr>
          <p:cNvCxnSpPr>
            <a:cxnSpLocks/>
          </p:cNvCxnSpPr>
          <p:nvPr/>
        </p:nvCxnSpPr>
        <p:spPr>
          <a:xfrm>
            <a:off x="4021890" y="2217980"/>
            <a:ext cx="2645300" cy="97815"/>
          </a:xfrm>
          <a:prstGeom prst="bentConnector3">
            <a:avLst>
              <a:gd name="adj1" fmla="val 34465"/>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Connector: Elbow 39">
            <a:extLst>
              <a:ext uri="{FF2B5EF4-FFF2-40B4-BE49-F238E27FC236}">
                <a16:creationId xmlns:a16="http://schemas.microsoft.com/office/drawing/2014/main" id="{5BF0F517-B030-4D8E-AB9A-9C263BB277EB}"/>
              </a:ext>
            </a:extLst>
          </p:cNvPr>
          <p:cNvCxnSpPr>
            <a:cxnSpLocks/>
          </p:cNvCxnSpPr>
          <p:nvPr/>
        </p:nvCxnSpPr>
        <p:spPr>
          <a:xfrm>
            <a:off x="4245637" y="2415232"/>
            <a:ext cx="2431211" cy="129555"/>
          </a:xfrm>
          <a:prstGeom prst="bentConnector3">
            <a:avLst>
              <a:gd name="adj1" fmla="val 28763"/>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Connector: Elbow 40">
            <a:extLst>
              <a:ext uri="{FF2B5EF4-FFF2-40B4-BE49-F238E27FC236}">
                <a16:creationId xmlns:a16="http://schemas.microsoft.com/office/drawing/2014/main" id="{6B82ED19-B472-4736-9D12-0BA3EF346030}"/>
              </a:ext>
            </a:extLst>
          </p:cNvPr>
          <p:cNvCxnSpPr>
            <a:cxnSpLocks/>
          </p:cNvCxnSpPr>
          <p:nvPr/>
        </p:nvCxnSpPr>
        <p:spPr>
          <a:xfrm flipV="1">
            <a:off x="3864023" y="3853901"/>
            <a:ext cx="2803166" cy="384707"/>
          </a:xfrm>
          <a:prstGeom prst="bentConnector3">
            <a:avLst>
              <a:gd name="adj1" fmla="val 38347"/>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2" name="Connector: Elbow 41">
            <a:extLst>
              <a:ext uri="{FF2B5EF4-FFF2-40B4-BE49-F238E27FC236}">
                <a16:creationId xmlns:a16="http://schemas.microsoft.com/office/drawing/2014/main" id="{1D7F002B-6C5A-4678-8C00-B323D662AE6B}"/>
              </a:ext>
            </a:extLst>
          </p:cNvPr>
          <p:cNvCxnSpPr>
            <a:cxnSpLocks/>
            <a:stCxn id="22" idx="2"/>
            <a:endCxn id="25" idx="0"/>
          </p:cNvCxnSpPr>
          <p:nvPr/>
        </p:nvCxnSpPr>
        <p:spPr>
          <a:xfrm rot="16200000" flipH="1">
            <a:off x="7432212" y="3776650"/>
            <a:ext cx="79672" cy="354411"/>
          </a:xfrm>
          <a:prstGeom prst="bentConnector3">
            <a:avLst>
              <a:gd name="adj1" fmla="val 50000"/>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Connector: Elbow 42">
            <a:extLst>
              <a:ext uri="{FF2B5EF4-FFF2-40B4-BE49-F238E27FC236}">
                <a16:creationId xmlns:a16="http://schemas.microsoft.com/office/drawing/2014/main" id="{44255E2B-460B-4D23-84D9-F2898A6D4781}"/>
              </a:ext>
            </a:extLst>
          </p:cNvPr>
          <p:cNvCxnSpPr>
            <a:cxnSpLocks/>
          </p:cNvCxnSpPr>
          <p:nvPr/>
        </p:nvCxnSpPr>
        <p:spPr>
          <a:xfrm rot="5400000">
            <a:off x="5687306" y="1169609"/>
            <a:ext cx="201716" cy="3085059"/>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64F5307D-CC84-4181-89C8-B489815B0107}"/>
              </a:ext>
            </a:extLst>
          </p:cNvPr>
          <p:cNvCxnSpPr>
            <a:cxnSpLocks/>
            <a:stCxn id="19" idx="1"/>
          </p:cNvCxnSpPr>
          <p:nvPr/>
        </p:nvCxnSpPr>
        <p:spPr>
          <a:xfrm rot="10800000" flipV="1">
            <a:off x="5820011" y="3432115"/>
            <a:ext cx="853766" cy="1039146"/>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B7368D5E-9924-42CF-9D2A-CFB5AC4A168E}"/>
              </a:ext>
            </a:extLst>
          </p:cNvPr>
          <p:cNvSpPr/>
          <p:nvPr/>
        </p:nvSpPr>
        <p:spPr bwMode="auto">
          <a:xfrm>
            <a:off x="2597019" y="951311"/>
            <a:ext cx="2749542" cy="222195"/>
          </a:xfrm>
          <a:prstGeom prst="rect">
            <a:avLst/>
          </a:prstGeom>
          <a:noFill/>
          <a:ln w="9525" cap="flat" cmpd="sng" algn="ctr">
            <a:solidFill>
              <a:srgbClr val="644F54"/>
            </a:solidFill>
            <a:prstDash val="solid"/>
            <a:miter lim="800000"/>
            <a:headEnd type="none" w="med" len="med"/>
            <a:tailEnd type="none" w="med" len="med"/>
          </a:ln>
        </p:spPr>
        <p:txBody>
          <a:bodyPr wrap="square" lIns="72000" tIns="72000" rIns="72000" bIns="72000" rtlCol="0" anchor="ctr"/>
          <a:lstStyle/>
          <a:p>
            <a:pPr algn="ctr" eaLnBrk="0" hangingPunct="0"/>
            <a:r>
              <a:rPr lang="en-SG" sz="1600" dirty="0">
                <a:solidFill>
                  <a:schemeClr val="dk1"/>
                </a:solidFill>
                <a:latin typeface="+mn-lt"/>
                <a:ea typeface="Verdana" pitchFamily="34" charset="0"/>
                <a:cs typeface="Verdana" pitchFamily="34" charset="0"/>
              </a:rPr>
              <a:t>Frontend</a:t>
            </a:r>
          </a:p>
        </p:txBody>
      </p:sp>
      <p:sp>
        <p:nvSpPr>
          <p:cNvPr id="46" name="Rectangle 45">
            <a:extLst>
              <a:ext uri="{FF2B5EF4-FFF2-40B4-BE49-F238E27FC236}">
                <a16:creationId xmlns:a16="http://schemas.microsoft.com/office/drawing/2014/main" id="{C0E18CA9-C9D0-4A64-928C-DC98DFFDBEC8}"/>
              </a:ext>
            </a:extLst>
          </p:cNvPr>
          <p:cNvSpPr/>
          <p:nvPr/>
        </p:nvSpPr>
        <p:spPr bwMode="auto">
          <a:xfrm>
            <a:off x="5850385" y="965578"/>
            <a:ext cx="2749542" cy="207928"/>
          </a:xfrm>
          <a:prstGeom prst="rect">
            <a:avLst/>
          </a:prstGeom>
          <a:noFill/>
          <a:ln w="9525" cap="flat" cmpd="sng" algn="ctr">
            <a:solidFill>
              <a:srgbClr val="644F54"/>
            </a:solidFill>
            <a:prstDash val="solid"/>
            <a:miter lim="800000"/>
            <a:headEnd type="none" w="med" len="med"/>
            <a:tailEnd type="none" w="med" len="med"/>
          </a:ln>
        </p:spPr>
        <p:txBody>
          <a:bodyPr wrap="square" lIns="72000" tIns="72000" rIns="72000" bIns="72000" rtlCol="0" anchor="ctr"/>
          <a:lstStyle/>
          <a:p>
            <a:pPr algn="ctr" eaLnBrk="0" hangingPunct="0"/>
            <a:r>
              <a:rPr lang="en-SG" sz="1600" dirty="0">
                <a:solidFill>
                  <a:schemeClr val="dk1"/>
                </a:solidFill>
                <a:latin typeface="+mn-lt"/>
                <a:ea typeface="Verdana" pitchFamily="34" charset="0"/>
                <a:cs typeface="Verdana" pitchFamily="34" charset="0"/>
              </a:rPr>
              <a:t>Backend</a:t>
            </a:r>
          </a:p>
        </p:txBody>
      </p:sp>
      <p:cxnSp>
        <p:nvCxnSpPr>
          <p:cNvPr id="47" name="Connector: Elbow 46">
            <a:extLst>
              <a:ext uri="{FF2B5EF4-FFF2-40B4-BE49-F238E27FC236}">
                <a16:creationId xmlns:a16="http://schemas.microsoft.com/office/drawing/2014/main" id="{DF57E0DE-DECB-4D7F-AC5E-99D0EADC7AF7}"/>
              </a:ext>
            </a:extLst>
          </p:cNvPr>
          <p:cNvCxnSpPr>
            <a:cxnSpLocks/>
          </p:cNvCxnSpPr>
          <p:nvPr/>
        </p:nvCxnSpPr>
        <p:spPr>
          <a:xfrm rot="5400000">
            <a:off x="2455931" y="2562850"/>
            <a:ext cx="68093" cy="2207997"/>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FA78849E-79B7-4144-97C0-700B5FAFF4A2}"/>
              </a:ext>
            </a:extLst>
          </p:cNvPr>
          <p:cNvSpPr/>
          <p:nvPr/>
        </p:nvSpPr>
        <p:spPr bwMode="auto">
          <a:xfrm>
            <a:off x="284403" y="3432115"/>
            <a:ext cx="1135153" cy="669665"/>
          </a:xfrm>
          <a:prstGeom prst="rect">
            <a:avLst/>
          </a:prstGeom>
          <a:noFill/>
          <a:ln w="9525">
            <a:solidFill>
              <a:schemeClr val="tx1"/>
            </a:solidFill>
            <a:miter lim="800000"/>
            <a:headEnd/>
            <a:tailEnd/>
          </a:ln>
        </p:spPr>
        <p:txBody>
          <a:bodyPr wrap="square" lIns="72000" tIns="72000" rIns="72000" bIns="72000" rtlCol="0" anchor="ctr"/>
          <a:lstStyle/>
          <a:p>
            <a:pPr algn="ctr" eaLnBrk="0" hangingPunct="0"/>
            <a:r>
              <a:rPr lang="en-SG" sz="1100" dirty="0">
                <a:solidFill>
                  <a:schemeClr val="dk1"/>
                </a:solidFill>
                <a:latin typeface="+mn-lt"/>
                <a:ea typeface="Verdana" pitchFamily="34" charset="0"/>
                <a:cs typeface="Verdana" pitchFamily="34" charset="0"/>
              </a:rPr>
              <a:t>Ask user to contact IT team</a:t>
            </a:r>
          </a:p>
        </p:txBody>
      </p:sp>
      <p:cxnSp>
        <p:nvCxnSpPr>
          <p:cNvPr id="49" name="Connector: Elbow 48">
            <a:extLst>
              <a:ext uri="{FF2B5EF4-FFF2-40B4-BE49-F238E27FC236}">
                <a16:creationId xmlns:a16="http://schemas.microsoft.com/office/drawing/2014/main" id="{D866B367-F103-4F1A-BD72-94AF4DD8C91A}"/>
              </a:ext>
            </a:extLst>
          </p:cNvPr>
          <p:cNvCxnSpPr>
            <a:cxnSpLocks/>
            <a:stCxn id="30" idx="1"/>
            <a:endCxn id="48" idx="3"/>
          </p:cNvCxnSpPr>
          <p:nvPr/>
        </p:nvCxnSpPr>
        <p:spPr>
          <a:xfrm rot="10800000">
            <a:off x="1419557" y="3766948"/>
            <a:ext cx="1193009" cy="464740"/>
          </a:xfrm>
          <a:prstGeom prst="bentConnector3">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9BEC58AE-529E-4BD0-9013-06626CF6EB46}"/>
              </a:ext>
            </a:extLst>
          </p:cNvPr>
          <p:cNvSpPr/>
          <p:nvPr/>
        </p:nvSpPr>
        <p:spPr bwMode="auto">
          <a:xfrm>
            <a:off x="250826" y="1345485"/>
            <a:ext cx="1215745" cy="865150"/>
          </a:xfrm>
          <a:prstGeom prst="rect">
            <a:avLst/>
          </a:prstGeom>
          <a:noFill/>
          <a:ln w="9525">
            <a:solidFill>
              <a:schemeClr val="tx1"/>
            </a:solidFill>
            <a:miter lim="800000"/>
            <a:headEnd/>
            <a:tailEnd/>
          </a:ln>
        </p:spPr>
        <p:txBody>
          <a:bodyPr wrap="square" lIns="72000" tIns="72000" rIns="72000" bIns="72000" rtlCol="0" anchor="ctr"/>
          <a:lstStyle/>
          <a:p>
            <a:pPr algn="ctr" eaLnBrk="0" hangingPunct="0"/>
            <a:r>
              <a:rPr lang="en-SG" sz="1100" dirty="0">
                <a:solidFill>
                  <a:schemeClr val="dk1"/>
                </a:solidFill>
                <a:latin typeface="+mn-lt"/>
                <a:ea typeface="Verdana" pitchFamily="34" charset="0"/>
                <a:cs typeface="Verdana" pitchFamily="34" charset="0"/>
              </a:rPr>
              <a:t>User can interact with a BOC member</a:t>
            </a:r>
          </a:p>
        </p:txBody>
      </p:sp>
      <p:cxnSp>
        <p:nvCxnSpPr>
          <p:cNvPr id="51" name="Connector: Elbow 50">
            <a:extLst>
              <a:ext uri="{FF2B5EF4-FFF2-40B4-BE49-F238E27FC236}">
                <a16:creationId xmlns:a16="http://schemas.microsoft.com/office/drawing/2014/main" id="{8856B0F8-140C-4A93-A886-81389AF21814}"/>
              </a:ext>
            </a:extLst>
          </p:cNvPr>
          <p:cNvCxnSpPr>
            <a:cxnSpLocks/>
            <a:stCxn id="27" idx="2"/>
            <a:endCxn id="50" idx="3"/>
          </p:cNvCxnSpPr>
          <p:nvPr/>
        </p:nvCxnSpPr>
        <p:spPr>
          <a:xfrm rot="5400000" flipH="1">
            <a:off x="2441354" y="803278"/>
            <a:ext cx="208732" cy="2158297"/>
          </a:xfrm>
          <a:prstGeom prst="bentConnector4">
            <a:avLst>
              <a:gd name="adj1" fmla="val -18044"/>
              <a:gd name="adj2" fmla="val 59350"/>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2" name="Title 51">
            <a:extLst>
              <a:ext uri="{FF2B5EF4-FFF2-40B4-BE49-F238E27FC236}">
                <a16:creationId xmlns:a16="http://schemas.microsoft.com/office/drawing/2014/main" id="{9D2F4B42-6356-459A-A413-4622F510DE19}"/>
              </a:ext>
            </a:extLst>
          </p:cNvPr>
          <p:cNvSpPr>
            <a:spLocks noGrp="1"/>
          </p:cNvSpPr>
          <p:nvPr>
            <p:ph type="title"/>
          </p:nvPr>
        </p:nvSpPr>
        <p:spPr/>
        <p:txBody>
          <a:bodyPr/>
          <a:lstStyle/>
          <a:p>
            <a:r>
              <a:rPr lang="en-GB" dirty="0"/>
              <a:t>Chatbot Dialog Flow concept for the printing issue</a:t>
            </a:r>
            <a:endParaRPr lang="en-SG" dirty="0"/>
          </a:p>
        </p:txBody>
      </p:sp>
      <p:sp>
        <p:nvSpPr>
          <p:cNvPr id="56" name="Slide Number Placeholder 55">
            <a:extLst>
              <a:ext uri="{FF2B5EF4-FFF2-40B4-BE49-F238E27FC236}">
                <a16:creationId xmlns:a16="http://schemas.microsoft.com/office/drawing/2014/main" id="{6A2106F9-334D-4B90-A934-49A94DA21733}"/>
              </a:ext>
            </a:extLst>
          </p:cNvPr>
          <p:cNvSpPr>
            <a:spLocks noGrp="1"/>
          </p:cNvSpPr>
          <p:nvPr>
            <p:ph type="sldNum" sz="quarter" idx="16"/>
          </p:nvPr>
        </p:nvSpPr>
        <p:spPr/>
        <p:txBody>
          <a:bodyPr/>
          <a:lstStyle/>
          <a:p>
            <a:r>
              <a:rPr lang="en-US" dirty="0"/>
              <a:t> </a:t>
            </a:r>
          </a:p>
        </p:txBody>
      </p:sp>
    </p:spTree>
    <p:extLst>
      <p:ext uri="{BB962C8B-B14F-4D97-AF65-F5344CB8AC3E}">
        <p14:creationId xmlns:p14="http://schemas.microsoft.com/office/powerpoint/2010/main" val="19786357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CDDAC61-549D-499B-B3E7-08FB1A1002DE}"/>
              </a:ext>
            </a:extLst>
          </p:cNvPr>
          <p:cNvSpPr/>
          <p:nvPr/>
        </p:nvSpPr>
        <p:spPr>
          <a:xfrm>
            <a:off x="4357440" y="3291830"/>
            <a:ext cx="4235478" cy="738664"/>
          </a:xfrm>
          <a:prstGeom prst="rect">
            <a:avLst/>
          </a:prstGeom>
        </p:spPr>
        <p:txBody>
          <a:bodyPr wrap="square">
            <a:spAutoFit/>
          </a:bodyPr>
          <a:lstStyle/>
          <a:p>
            <a:pPr marL="0" indent="0" algn="just">
              <a:buNone/>
            </a:pPr>
            <a:r>
              <a:rPr lang="en-SG" sz="1400" dirty="0">
                <a:solidFill>
                  <a:schemeClr val="dk1"/>
                </a:solidFill>
              </a:rPr>
              <a:t>As the recording shows at the end of evaluation Into different problem areas, it will show the </a:t>
            </a:r>
            <a:r>
              <a:rPr lang="en-SG" sz="1400" b="1" dirty="0">
                <a:solidFill>
                  <a:schemeClr val="dk1"/>
                </a:solidFill>
              </a:rPr>
              <a:t>status</a:t>
            </a:r>
            <a:r>
              <a:rPr lang="en-SG" sz="1400" dirty="0">
                <a:solidFill>
                  <a:schemeClr val="dk1"/>
                </a:solidFill>
              </a:rPr>
              <a:t> of each are along with the </a:t>
            </a:r>
            <a:r>
              <a:rPr lang="en-SG" sz="1400" b="1" dirty="0">
                <a:solidFill>
                  <a:schemeClr val="dk1"/>
                </a:solidFill>
              </a:rPr>
              <a:t>FAQ document</a:t>
            </a:r>
            <a:r>
              <a:rPr lang="en-SG" sz="1400" dirty="0">
                <a:solidFill>
                  <a:schemeClr val="dk1"/>
                </a:solidFill>
              </a:rPr>
              <a:t>. </a:t>
            </a:r>
          </a:p>
        </p:txBody>
      </p:sp>
      <p:pic>
        <p:nvPicPr>
          <p:cNvPr id="8" name="Screen Recording 8">
            <a:hlinkClick r:id="" action="ppaction://media"/>
            <a:extLst>
              <a:ext uri="{FF2B5EF4-FFF2-40B4-BE49-F238E27FC236}">
                <a16:creationId xmlns:a16="http://schemas.microsoft.com/office/drawing/2014/main" id="{6EEEFD78-78BB-4B35-BE81-E6B054802C9B}"/>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474838" y="928451"/>
            <a:ext cx="3868146" cy="3835004"/>
          </a:xfrm>
          <a:prstGeom prst="rect">
            <a:avLst/>
          </a:prstGeom>
        </p:spPr>
      </p:pic>
      <p:sp>
        <p:nvSpPr>
          <p:cNvPr id="9" name="Title 8">
            <a:extLst>
              <a:ext uri="{FF2B5EF4-FFF2-40B4-BE49-F238E27FC236}">
                <a16:creationId xmlns:a16="http://schemas.microsoft.com/office/drawing/2014/main" id="{6250C152-344F-4C5A-AAF5-086AC23C8962}"/>
              </a:ext>
            </a:extLst>
          </p:cNvPr>
          <p:cNvSpPr>
            <a:spLocks noGrp="1"/>
          </p:cNvSpPr>
          <p:nvPr>
            <p:ph type="title"/>
          </p:nvPr>
        </p:nvSpPr>
        <p:spPr/>
        <p:txBody>
          <a:bodyPr/>
          <a:lstStyle/>
          <a:p>
            <a:r>
              <a:rPr lang="en-SG" dirty="0"/>
              <a:t>Chatbot Sample</a:t>
            </a:r>
          </a:p>
        </p:txBody>
      </p:sp>
      <p:sp>
        <p:nvSpPr>
          <p:cNvPr id="13" name="Slide Number Placeholder 12">
            <a:extLst>
              <a:ext uri="{FF2B5EF4-FFF2-40B4-BE49-F238E27FC236}">
                <a16:creationId xmlns:a16="http://schemas.microsoft.com/office/drawing/2014/main" id="{A47D4586-89BF-41B3-85C9-2B589DD79391}"/>
              </a:ext>
            </a:extLst>
          </p:cNvPr>
          <p:cNvSpPr>
            <a:spLocks noGrp="1"/>
          </p:cNvSpPr>
          <p:nvPr>
            <p:ph type="sldNum" sz="quarter" idx="16"/>
          </p:nvPr>
        </p:nvSpPr>
        <p:spPr/>
        <p:txBody>
          <a:bodyPr/>
          <a:lstStyle/>
          <a:p>
            <a:r>
              <a:rPr lang="en-US" dirty="0"/>
              <a:t> </a:t>
            </a:r>
          </a:p>
        </p:txBody>
      </p:sp>
    </p:spTree>
    <p:extLst>
      <p:ext uri="{BB962C8B-B14F-4D97-AF65-F5344CB8AC3E}">
        <p14:creationId xmlns:p14="http://schemas.microsoft.com/office/powerpoint/2010/main" val="23606014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9922"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8"/>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8"/>
                                        </p:tgtEl>
                                      </p:cBhvr>
                                    </p:cmd>
                                  </p:childTnLst>
                                </p:cTn>
                              </p:par>
                            </p:childTnLst>
                          </p:cTn>
                        </p:par>
                      </p:childTnLst>
                    </p:cTn>
                  </p:par>
                </p:childTnLst>
              </p:cTn>
              <p:nextCondLst>
                <p:cond evt="onClick" delay="0">
                  <p:tgtEl>
                    <p:spTgt spid="8"/>
                  </p:tgtEl>
                </p:cond>
              </p:nextCondLst>
            </p:seq>
            <p:video>
              <p:cMediaNode vol="80000" mute="1">
                <p:cTn id="12" fill="hold" display="0">
                  <p:stCondLst>
                    <p:cond delay="indefinite"/>
                  </p:stCondLst>
                </p:cTn>
                <p:tgtEl>
                  <p:spTgt spid="8"/>
                </p:tgtEl>
              </p:cMediaNode>
            </p:video>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4">
            <a:extLst>
              <a:ext uri="{FF2B5EF4-FFF2-40B4-BE49-F238E27FC236}">
                <a16:creationId xmlns:a16="http://schemas.microsoft.com/office/drawing/2014/main" id="{8D965939-276E-4D4C-B3AF-B24BE9024826}"/>
              </a:ext>
            </a:extLst>
          </p:cNvPr>
          <p:cNvSpPr txBox="1">
            <a:spLocks/>
          </p:cNvSpPr>
          <p:nvPr/>
        </p:nvSpPr>
        <p:spPr>
          <a:xfrm>
            <a:off x="250826" y="951311"/>
            <a:ext cx="8640764" cy="3348631"/>
          </a:xfrm>
          <a:prstGeom prst="rect">
            <a:avLst/>
          </a:prstGeom>
        </p:spPr>
        <p:txBody>
          <a:bodyPr vert="horz" lIns="0" tIns="0" rIns="0" bIns="0" rtlCol="0">
            <a:normAutofit/>
          </a:bodyPr>
          <a:lstStyle>
            <a:lvl1pPr marL="135000" indent="-135000" algn="l" defTabSz="432000" rtl="0" eaLnBrk="1" fontAlgn="base" hangingPunct="1">
              <a:spcBef>
                <a:spcPts val="0"/>
              </a:spcBef>
              <a:spcAft>
                <a:spcPts val="0"/>
              </a:spcAft>
              <a:buClr>
                <a:schemeClr val="accent1"/>
              </a:buClr>
              <a:buSzPct val="100000"/>
              <a:buFont typeface="Arial" panose="020B0604020202020204" pitchFamily="34" charset="0"/>
              <a:buChar char="›"/>
              <a:defRPr sz="1500" baseline="0">
                <a:solidFill>
                  <a:schemeClr val="tx1"/>
                </a:solidFill>
                <a:latin typeface="+mn-lt"/>
                <a:ea typeface="+mn-ea"/>
                <a:cs typeface="+mn-cs"/>
              </a:defRPr>
            </a:lvl1pPr>
            <a:lvl2pPr marL="337500" indent="-202500" algn="l" defTabSz="432000" rtl="0" eaLnBrk="1" fontAlgn="base" hangingPunct="1">
              <a:spcBef>
                <a:spcPts val="0"/>
              </a:spcBef>
              <a:spcAft>
                <a:spcPts val="0"/>
              </a:spcAft>
              <a:buClr>
                <a:schemeClr val="accent1"/>
              </a:buClr>
              <a:buSzPct val="100000"/>
              <a:buFont typeface="Verdana" panose="020B0604030504040204" pitchFamily="34" charset="0"/>
              <a:buChar char="–"/>
              <a:defRPr sz="1500">
                <a:solidFill>
                  <a:schemeClr val="tx1"/>
                </a:solidFill>
                <a:latin typeface="+mn-lt"/>
                <a:ea typeface="+mn-ea"/>
                <a:cs typeface="+mn-cs"/>
              </a:defRPr>
            </a:lvl2pPr>
            <a:lvl3pPr marL="472500" indent="-135000" algn="l" defTabSz="432000" rtl="0" eaLnBrk="1" fontAlgn="base" hangingPunct="1">
              <a:spcBef>
                <a:spcPts val="0"/>
              </a:spcBef>
              <a:spcAft>
                <a:spcPts val="0"/>
              </a:spcAft>
              <a:buClr>
                <a:schemeClr val="accent1"/>
              </a:buClr>
              <a:buSzPct val="100000"/>
              <a:buFont typeface="Arial" panose="020B0604020202020204" pitchFamily="34" charset="0"/>
              <a:buChar char="–"/>
              <a:defRPr sz="1350" baseline="0">
                <a:solidFill>
                  <a:schemeClr val="tx1"/>
                </a:solidFill>
                <a:latin typeface="+mn-lt"/>
                <a:ea typeface="+mn-ea"/>
                <a:cs typeface="+mn-cs"/>
              </a:defRPr>
            </a:lvl3pPr>
            <a:lvl4pPr marL="602100" indent="-129600" algn="l" defTabSz="432000" rtl="0" eaLnBrk="1" fontAlgn="base" hangingPunct="1">
              <a:spcBef>
                <a:spcPts val="0"/>
              </a:spcBef>
              <a:spcAft>
                <a:spcPts val="0"/>
              </a:spcAft>
              <a:buClr>
                <a:schemeClr val="accent1"/>
              </a:buClr>
              <a:buSzPct val="100000"/>
              <a:buFont typeface="Arial" panose="020B0604020202020204" pitchFamily="34" charset="0"/>
              <a:buChar char="–"/>
              <a:defRPr sz="1200" baseline="0">
                <a:solidFill>
                  <a:schemeClr val="tx1"/>
                </a:solidFill>
                <a:latin typeface="+mn-lt"/>
                <a:ea typeface="+mn-ea"/>
                <a:cs typeface="+mn-cs"/>
              </a:defRPr>
            </a:lvl4pPr>
            <a:lvl5pPr marL="737100" indent="-135000" algn="l" defTabSz="432000" rtl="0" eaLnBrk="1" fontAlgn="base" hangingPunct="1">
              <a:spcBef>
                <a:spcPts val="0"/>
              </a:spcBef>
              <a:spcAft>
                <a:spcPts val="0"/>
              </a:spcAft>
              <a:buClr>
                <a:schemeClr val="accent1"/>
              </a:buClr>
              <a:buSzPct val="100000"/>
              <a:buFont typeface="Arial" panose="020B0604020202020204" pitchFamily="34" charset="0"/>
              <a:buChar char="–"/>
              <a:defRPr sz="1050" baseline="0">
                <a:solidFill>
                  <a:schemeClr val="tx1"/>
                </a:solidFill>
                <a:latin typeface="+mn-lt"/>
                <a:ea typeface="+mn-ea"/>
                <a:cs typeface="+mn-cs"/>
              </a:defRPr>
            </a:lvl5pPr>
            <a:lvl6pPr marL="737100" indent="-135000" algn="l" defTabSz="432000" rtl="0" eaLnBrk="1" fontAlgn="base" hangingPunct="1">
              <a:spcBef>
                <a:spcPts val="0"/>
              </a:spcBef>
              <a:spcAft>
                <a:spcPts val="0"/>
              </a:spcAft>
              <a:buClr>
                <a:schemeClr val="accent1"/>
              </a:buClr>
              <a:buFont typeface="Arial" panose="020B0604020202020204" pitchFamily="34" charset="0"/>
              <a:buChar char="–"/>
              <a:defRPr sz="1050" baseline="0">
                <a:solidFill>
                  <a:schemeClr val="tx1"/>
                </a:solidFill>
                <a:latin typeface="+mn-lt"/>
                <a:cs typeface="+mn-cs"/>
              </a:defRPr>
            </a:lvl6pPr>
            <a:lvl7pPr marL="737100" indent="-135000" algn="l" defTabSz="432000" rtl="0" eaLnBrk="1" fontAlgn="base" hangingPunct="1">
              <a:spcBef>
                <a:spcPts val="0"/>
              </a:spcBef>
              <a:spcAft>
                <a:spcPct val="0"/>
              </a:spcAft>
              <a:buClr>
                <a:schemeClr val="accent1"/>
              </a:buClr>
              <a:buFont typeface="Arial" panose="020B0604020202020204" pitchFamily="34" charset="0"/>
              <a:buChar char="–"/>
              <a:defRPr sz="1050">
                <a:solidFill>
                  <a:schemeClr val="tx1"/>
                </a:solidFill>
                <a:latin typeface="+mn-lt"/>
                <a:cs typeface="+mn-cs"/>
              </a:defRPr>
            </a:lvl7pPr>
            <a:lvl8pPr marL="737100" indent="-135000" algn="l" defTabSz="432000" rtl="0" eaLnBrk="1" fontAlgn="base" hangingPunct="1">
              <a:spcBef>
                <a:spcPts val="0"/>
              </a:spcBef>
              <a:spcAft>
                <a:spcPct val="0"/>
              </a:spcAft>
              <a:buClr>
                <a:schemeClr val="accent1"/>
              </a:buClr>
              <a:buFont typeface="Arial" panose="020B0604020202020204" pitchFamily="34" charset="0"/>
              <a:buChar char="–"/>
              <a:defRPr sz="1050">
                <a:solidFill>
                  <a:schemeClr val="tx1"/>
                </a:solidFill>
                <a:latin typeface="+mn-lt"/>
                <a:cs typeface="+mn-cs"/>
              </a:defRPr>
            </a:lvl8pPr>
            <a:lvl9pPr marL="737100" indent="-135000" algn="l" defTabSz="432000" rtl="0" eaLnBrk="1" fontAlgn="base" hangingPunct="1">
              <a:spcBef>
                <a:spcPts val="0"/>
              </a:spcBef>
              <a:spcAft>
                <a:spcPct val="0"/>
              </a:spcAft>
              <a:buClr>
                <a:schemeClr val="accent1"/>
              </a:buClr>
              <a:buFont typeface="Arial" panose="020B0604020202020204" pitchFamily="34" charset="0"/>
              <a:buChar char="–"/>
              <a:defRPr sz="1050">
                <a:solidFill>
                  <a:schemeClr val="tx1"/>
                </a:solidFill>
                <a:latin typeface="+mn-lt"/>
                <a:cs typeface="+mn-cs"/>
              </a:defRPr>
            </a:lvl9pPr>
          </a:lstStyle>
          <a:p>
            <a:r>
              <a:rPr lang="en-SG" sz="1400" b="1" kern="0" dirty="0">
                <a:solidFill>
                  <a:schemeClr val="dk1"/>
                </a:solidFill>
              </a:rPr>
              <a:t>Data Extraction</a:t>
            </a:r>
            <a:r>
              <a:rPr lang="en-SG" sz="1400" kern="0" dirty="0">
                <a:solidFill>
                  <a:schemeClr val="dk1"/>
                </a:solidFill>
              </a:rPr>
              <a:t> from the </a:t>
            </a:r>
            <a:r>
              <a:rPr lang="en-SG" sz="1400" b="1" kern="0" dirty="0">
                <a:solidFill>
                  <a:schemeClr val="dk1"/>
                </a:solidFill>
              </a:rPr>
              <a:t>Noisy</a:t>
            </a:r>
            <a:r>
              <a:rPr lang="en-SG" sz="1400" kern="0" dirty="0">
                <a:solidFill>
                  <a:schemeClr val="dk1"/>
                </a:solidFill>
              </a:rPr>
              <a:t> data</a:t>
            </a:r>
          </a:p>
          <a:p>
            <a:pPr marL="0" indent="0">
              <a:buNone/>
            </a:pPr>
            <a:endParaRPr lang="en-SG" sz="1400" kern="0" dirty="0">
              <a:solidFill>
                <a:schemeClr val="dk1"/>
              </a:solidFill>
            </a:endParaRPr>
          </a:p>
          <a:p>
            <a:pPr marL="0" indent="0">
              <a:buNone/>
            </a:pPr>
            <a:endParaRPr lang="en-SG" sz="1400" kern="0" dirty="0">
              <a:solidFill>
                <a:schemeClr val="dk1"/>
              </a:solidFill>
            </a:endParaRPr>
          </a:p>
          <a:p>
            <a:r>
              <a:rPr lang="en-SG" sz="1400" kern="0" dirty="0">
                <a:solidFill>
                  <a:schemeClr val="dk1"/>
                </a:solidFill>
              </a:rPr>
              <a:t>Not all </a:t>
            </a:r>
            <a:r>
              <a:rPr lang="en-SG" sz="1400" b="1" kern="0" dirty="0">
                <a:solidFill>
                  <a:schemeClr val="dk1"/>
                </a:solidFill>
              </a:rPr>
              <a:t>symptoms</a:t>
            </a:r>
            <a:r>
              <a:rPr lang="en-SG" sz="1400" kern="0" dirty="0">
                <a:solidFill>
                  <a:schemeClr val="dk1"/>
                </a:solidFill>
              </a:rPr>
              <a:t> are </a:t>
            </a:r>
            <a:r>
              <a:rPr lang="en-SG" sz="1400" b="1" kern="0" dirty="0">
                <a:solidFill>
                  <a:schemeClr val="dk1"/>
                </a:solidFill>
              </a:rPr>
              <a:t>interpretable</a:t>
            </a:r>
          </a:p>
          <a:p>
            <a:pPr marL="0" indent="0">
              <a:buNone/>
            </a:pPr>
            <a:endParaRPr lang="en-SG" sz="1400" b="1" kern="0" dirty="0">
              <a:solidFill>
                <a:schemeClr val="dk1"/>
              </a:solidFill>
            </a:endParaRPr>
          </a:p>
          <a:p>
            <a:endParaRPr lang="en-SG" sz="1400" kern="0" dirty="0">
              <a:solidFill>
                <a:schemeClr val="dk1"/>
              </a:solidFill>
            </a:endParaRPr>
          </a:p>
          <a:p>
            <a:r>
              <a:rPr lang="en-SG" sz="1400" kern="0" dirty="0">
                <a:solidFill>
                  <a:schemeClr val="dk1"/>
                </a:solidFill>
              </a:rPr>
              <a:t>The training takes a long time. To overcome that a library named “</a:t>
            </a:r>
            <a:r>
              <a:rPr lang="en-SG" sz="1400" b="1" kern="0" dirty="0">
                <a:solidFill>
                  <a:schemeClr val="dk1"/>
                </a:solidFill>
              </a:rPr>
              <a:t>ray</a:t>
            </a:r>
            <a:r>
              <a:rPr lang="en-SG" sz="1400" kern="0" dirty="0">
                <a:solidFill>
                  <a:schemeClr val="dk1"/>
                </a:solidFill>
              </a:rPr>
              <a:t>” has been used to share the load among all the cores of CPU.</a:t>
            </a:r>
          </a:p>
          <a:p>
            <a:pPr marL="0" indent="0">
              <a:buNone/>
            </a:pPr>
            <a:endParaRPr lang="en-SG" sz="1400" kern="0" dirty="0">
              <a:solidFill>
                <a:schemeClr val="dk1"/>
              </a:solidFill>
            </a:endParaRPr>
          </a:p>
          <a:p>
            <a:endParaRPr lang="en-SG" sz="1400" kern="0" dirty="0">
              <a:solidFill>
                <a:schemeClr val="dk1"/>
              </a:solidFill>
            </a:endParaRPr>
          </a:p>
          <a:p>
            <a:r>
              <a:rPr lang="en-SG" sz="1400" kern="0" dirty="0">
                <a:solidFill>
                  <a:schemeClr val="dk1"/>
                </a:solidFill>
              </a:rPr>
              <a:t>Calculating </a:t>
            </a:r>
            <a:r>
              <a:rPr lang="en-SG" sz="1400" b="1" kern="0" dirty="0">
                <a:solidFill>
                  <a:schemeClr val="dk1"/>
                </a:solidFill>
              </a:rPr>
              <a:t>accuracy</a:t>
            </a:r>
            <a:r>
              <a:rPr lang="en-SG" sz="1400" kern="0" dirty="0">
                <a:solidFill>
                  <a:schemeClr val="dk1"/>
                </a:solidFill>
              </a:rPr>
              <a:t> is very difficult since it requires </a:t>
            </a:r>
            <a:r>
              <a:rPr lang="en-SG" sz="1400" b="1" kern="0" dirty="0">
                <a:solidFill>
                  <a:schemeClr val="dk1"/>
                </a:solidFill>
              </a:rPr>
              <a:t>human</a:t>
            </a:r>
            <a:r>
              <a:rPr lang="en-SG" sz="1400" kern="0" dirty="0">
                <a:solidFill>
                  <a:schemeClr val="dk1"/>
                </a:solidFill>
              </a:rPr>
              <a:t> </a:t>
            </a:r>
            <a:r>
              <a:rPr lang="en-SG" sz="1400" b="1" kern="0" dirty="0">
                <a:solidFill>
                  <a:schemeClr val="dk1"/>
                </a:solidFill>
              </a:rPr>
              <a:t>intervention</a:t>
            </a:r>
          </a:p>
          <a:p>
            <a:pPr marL="0" indent="0">
              <a:buNone/>
            </a:pPr>
            <a:endParaRPr lang="en-SG" sz="1400" b="1" kern="0" dirty="0">
              <a:solidFill>
                <a:schemeClr val="dk1"/>
              </a:solidFill>
            </a:endParaRPr>
          </a:p>
          <a:p>
            <a:endParaRPr lang="en-SG" sz="1400" kern="0" dirty="0">
              <a:solidFill>
                <a:schemeClr val="dk1"/>
              </a:solidFill>
            </a:endParaRPr>
          </a:p>
          <a:p>
            <a:r>
              <a:rPr lang="en-SG" sz="1400" kern="0" dirty="0">
                <a:solidFill>
                  <a:schemeClr val="dk1"/>
                </a:solidFill>
              </a:rPr>
              <a:t>The most </a:t>
            </a:r>
            <a:r>
              <a:rPr lang="en-SG" sz="1400" b="1" kern="0" dirty="0">
                <a:solidFill>
                  <a:schemeClr val="dk1"/>
                </a:solidFill>
              </a:rPr>
              <a:t>difficult</a:t>
            </a:r>
            <a:r>
              <a:rPr lang="en-SG" sz="1400" kern="0" dirty="0">
                <a:solidFill>
                  <a:schemeClr val="dk1"/>
                </a:solidFill>
              </a:rPr>
              <a:t> task was to choose the topics based on </a:t>
            </a:r>
            <a:r>
              <a:rPr lang="en-SG" sz="1400" b="1" kern="0" dirty="0">
                <a:solidFill>
                  <a:schemeClr val="dk1"/>
                </a:solidFill>
              </a:rPr>
              <a:t>different state </a:t>
            </a:r>
            <a:r>
              <a:rPr lang="en-SG" sz="1400" kern="0" dirty="0">
                <a:solidFill>
                  <a:schemeClr val="dk1"/>
                </a:solidFill>
              </a:rPr>
              <a:t>of </a:t>
            </a:r>
            <a:r>
              <a:rPr lang="en-SG" sz="1400" b="1" kern="0" dirty="0">
                <a:solidFill>
                  <a:schemeClr val="dk1"/>
                </a:solidFill>
              </a:rPr>
              <a:t>data</a:t>
            </a:r>
            <a:r>
              <a:rPr lang="en-SG" sz="1400" kern="0" dirty="0">
                <a:solidFill>
                  <a:schemeClr val="dk1"/>
                </a:solidFill>
              </a:rPr>
              <a:t> and combination of </a:t>
            </a:r>
            <a:r>
              <a:rPr lang="en-SG" sz="1400" b="1" kern="0" dirty="0">
                <a:solidFill>
                  <a:schemeClr val="dk1"/>
                </a:solidFill>
              </a:rPr>
              <a:t>hyperparameters</a:t>
            </a:r>
          </a:p>
          <a:p>
            <a:pPr marL="0" indent="0">
              <a:buFont typeface="Arial" panose="020B0604020202020204" pitchFamily="34" charset="0"/>
              <a:buNone/>
            </a:pPr>
            <a:endParaRPr lang="en-SG" sz="1400" kern="0" dirty="0"/>
          </a:p>
        </p:txBody>
      </p:sp>
      <p:pic>
        <p:nvPicPr>
          <p:cNvPr id="8" name="Graphic 7" descr="Puzzle">
            <a:extLst>
              <a:ext uri="{FF2B5EF4-FFF2-40B4-BE49-F238E27FC236}">
                <a16:creationId xmlns:a16="http://schemas.microsoft.com/office/drawing/2014/main" id="{7B5B4A85-3826-4328-82F7-35A820A1C0E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308304" y="2427734"/>
            <a:ext cx="1429040" cy="1429040"/>
          </a:xfrm>
          <a:prstGeom prst="rect">
            <a:avLst/>
          </a:prstGeom>
        </p:spPr>
      </p:pic>
      <p:sp>
        <p:nvSpPr>
          <p:cNvPr id="9" name="Title 8">
            <a:extLst>
              <a:ext uri="{FF2B5EF4-FFF2-40B4-BE49-F238E27FC236}">
                <a16:creationId xmlns:a16="http://schemas.microsoft.com/office/drawing/2014/main" id="{F8E55C1C-61E1-4BD8-9158-BFE726361F69}"/>
              </a:ext>
            </a:extLst>
          </p:cNvPr>
          <p:cNvSpPr>
            <a:spLocks noGrp="1"/>
          </p:cNvSpPr>
          <p:nvPr>
            <p:ph type="title"/>
          </p:nvPr>
        </p:nvSpPr>
        <p:spPr/>
        <p:txBody>
          <a:bodyPr/>
          <a:lstStyle/>
          <a:p>
            <a:r>
              <a:rPr lang="en-SG" dirty="0"/>
              <a:t>Challenges</a:t>
            </a:r>
          </a:p>
        </p:txBody>
      </p:sp>
      <p:sp>
        <p:nvSpPr>
          <p:cNvPr id="13" name="Slide Number Placeholder 12">
            <a:extLst>
              <a:ext uri="{FF2B5EF4-FFF2-40B4-BE49-F238E27FC236}">
                <a16:creationId xmlns:a16="http://schemas.microsoft.com/office/drawing/2014/main" id="{F53442ED-6A5E-4033-B506-8F9E202FA89D}"/>
              </a:ext>
            </a:extLst>
          </p:cNvPr>
          <p:cNvSpPr>
            <a:spLocks noGrp="1"/>
          </p:cNvSpPr>
          <p:nvPr>
            <p:ph type="sldNum" sz="quarter" idx="16"/>
          </p:nvPr>
        </p:nvSpPr>
        <p:spPr/>
        <p:txBody>
          <a:bodyPr/>
          <a:lstStyle/>
          <a:p>
            <a:r>
              <a:rPr lang="en-US" dirty="0"/>
              <a:t> </a:t>
            </a:r>
          </a:p>
        </p:txBody>
      </p:sp>
    </p:spTree>
    <p:extLst>
      <p:ext uri="{BB962C8B-B14F-4D97-AF65-F5344CB8AC3E}">
        <p14:creationId xmlns:p14="http://schemas.microsoft.com/office/powerpoint/2010/main" val="33578624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4">
            <a:extLst>
              <a:ext uri="{FF2B5EF4-FFF2-40B4-BE49-F238E27FC236}">
                <a16:creationId xmlns:a16="http://schemas.microsoft.com/office/drawing/2014/main" id="{852CE493-EF13-4853-A685-7A303220CE19}"/>
              </a:ext>
            </a:extLst>
          </p:cNvPr>
          <p:cNvSpPr txBox="1">
            <a:spLocks/>
          </p:cNvSpPr>
          <p:nvPr/>
        </p:nvSpPr>
        <p:spPr>
          <a:xfrm>
            <a:off x="250826" y="951311"/>
            <a:ext cx="8640764" cy="3835005"/>
          </a:xfrm>
          <a:prstGeom prst="rect">
            <a:avLst/>
          </a:prstGeom>
        </p:spPr>
        <p:txBody>
          <a:bodyPr vert="horz" lIns="0" tIns="0" rIns="0" bIns="0" rtlCol="0">
            <a:normAutofit/>
          </a:bodyPr>
          <a:lstStyle>
            <a:lvl1pPr marL="135000" indent="-135000" algn="l" defTabSz="432000" rtl="0" eaLnBrk="1" fontAlgn="base" hangingPunct="1">
              <a:spcBef>
                <a:spcPts val="0"/>
              </a:spcBef>
              <a:spcAft>
                <a:spcPts val="0"/>
              </a:spcAft>
              <a:buClr>
                <a:schemeClr val="accent1"/>
              </a:buClr>
              <a:buSzPct val="100000"/>
              <a:buFont typeface="Arial" panose="020B0604020202020204" pitchFamily="34" charset="0"/>
              <a:buChar char="›"/>
              <a:defRPr sz="1500" baseline="0">
                <a:solidFill>
                  <a:schemeClr val="tx1"/>
                </a:solidFill>
                <a:latin typeface="+mn-lt"/>
                <a:ea typeface="+mn-ea"/>
                <a:cs typeface="+mn-cs"/>
              </a:defRPr>
            </a:lvl1pPr>
            <a:lvl2pPr marL="337500" indent="-202500" algn="l" defTabSz="432000" rtl="0" eaLnBrk="1" fontAlgn="base" hangingPunct="1">
              <a:spcBef>
                <a:spcPts val="0"/>
              </a:spcBef>
              <a:spcAft>
                <a:spcPts val="0"/>
              </a:spcAft>
              <a:buClr>
                <a:schemeClr val="accent1"/>
              </a:buClr>
              <a:buSzPct val="100000"/>
              <a:buFont typeface="Verdana" panose="020B0604030504040204" pitchFamily="34" charset="0"/>
              <a:buChar char="–"/>
              <a:defRPr sz="1500">
                <a:solidFill>
                  <a:schemeClr val="tx1"/>
                </a:solidFill>
                <a:latin typeface="+mn-lt"/>
                <a:ea typeface="+mn-ea"/>
                <a:cs typeface="+mn-cs"/>
              </a:defRPr>
            </a:lvl2pPr>
            <a:lvl3pPr marL="472500" indent="-135000" algn="l" defTabSz="432000" rtl="0" eaLnBrk="1" fontAlgn="base" hangingPunct="1">
              <a:spcBef>
                <a:spcPts val="0"/>
              </a:spcBef>
              <a:spcAft>
                <a:spcPts val="0"/>
              </a:spcAft>
              <a:buClr>
                <a:schemeClr val="accent1"/>
              </a:buClr>
              <a:buSzPct val="100000"/>
              <a:buFont typeface="Arial" panose="020B0604020202020204" pitchFamily="34" charset="0"/>
              <a:buChar char="–"/>
              <a:defRPr sz="1350" baseline="0">
                <a:solidFill>
                  <a:schemeClr val="tx1"/>
                </a:solidFill>
                <a:latin typeface="+mn-lt"/>
                <a:ea typeface="+mn-ea"/>
                <a:cs typeface="+mn-cs"/>
              </a:defRPr>
            </a:lvl3pPr>
            <a:lvl4pPr marL="602100" indent="-129600" algn="l" defTabSz="432000" rtl="0" eaLnBrk="1" fontAlgn="base" hangingPunct="1">
              <a:spcBef>
                <a:spcPts val="0"/>
              </a:spcBef>
              <a:spcAft>
                <a:spcPts val="0"/>
              </a:spcAft>
              <a:buClr>
                <a:schemeClr val="accent1"/>
              </a:buClr>
              <a:buSzPct val="100000"/>
              <a:buFont typeface="Arial" panose="020B0604020202020204" pitchFamily="34" charset="0"/>
              <a:buChar char="–"/>
              <a:defRPr sz="1200" baseline="0">
                <a:solidFill>
                  <a:schemeClr val="tx1"/>
                </a:solidFill>
                <a:latin typeface="+mn-lt"/>
                <a:ea typeface="+mn-ea"/>
                <a:cs typeface="+mn-cs"/>
              </a:defRPr>
            </a:lvl4pPr>
            <a:lvl5pPr marL="737100" indent="-135000" algn="l" defTabSz="432000" rtl="0" eaLnBrk="1" fontAlgn="base" hangingPunct="1">
              <a:spcBef>
                <a:spcPts val="0"/>
              </a:spcBef>
              <a:spcAft>
                <a:spcPts val="0"/>
              </a:spcAft>
              <a:buClr>
                <a:schemeClr val="accent1"/>
              </a:buClr>
              <a:buSzPct val="100000"/>
              <a:buFont typeface="Arial" panose="020B0604020202020204" pitchFamily="34" charset="0"/>
              <a:buChar char="–"/>
              <a:defRPr sz="1050" baseline="0">
                <a:solidFill>
                  <a:schemeClr val="tx1"/>
                </a:solidFill>
                <a:latin typeface="+mn-lt"/>
                <a:ea typeface="+mn-ea"/>
                <a:cs typeface="+mn-cs"/>
              </a:defRPr>
            </a:lvl5pPr>
            <a:lvl6pPr marL="737100" indent="-135000" algn="l" defTabSz="432000" rtl="0" eaLnBrk="1" fontAlgn="base" hangingPunct="1">
              <a:spcBef>
                <a:spcPts val="0"/>
              </a:spcBef>
              <a:spcAft>
                <a:spcPts val="0"/>
              </a:spcAft>
              <a:buClr>
                <a:schemeClr val="accent1"/>
              </a:buClr>
              <a:buFont typeface="Arial" panose="020B0604020202020204" pitchFamily="34" charset="0"/>
              <a:buChar char="–"/>
              <a:defRPr sz="1050" baseline="0">
                <a:solidFill>
                  <a:schemeClr val="tx1"/>
                </a:solidFill>
                <a:latin typeface="+mn-lt"/>
                <a:cs typeface="+mn-cs"/>
              </a:defRPr>
            </a:lvl6pPr>
            <a:lvl7pPr marL="737100" indent="-135000" algn="l" defTabSz="432000" rtl="0" eaLnBrk="1" fontAlgn="base" hangingPunct="1">
              <a:spcBef>
                <a:spcPts val="0"/>
              </a:spcBef>
              <a:spcAft>
                <a:spcPct val="0"/>
              </a:spcAft>
              <a:buClr>
                <a:schemeClr val="accent1"/>
              </a:buClr>
              <a:buFont typeface="Arial" panose="020B0604020202020204" pitchFamily="34" charset="0"/>
              <a:buChar char="–"/>
              <a:defRPr sz="1050">
                <a:solidFill>
                  <a:schemeClr val="tx1"/>
                </a:solidFill>
                <a:latin typeface="+mn-lt"/>
                <a:cs typeface="+mn-cs"/>
              </a:defRPr>
            </a:lvl7pPr>
            <a:lvl8pPr marL="737100" indent="-135000" algn="l" defTabSz="432000" rtl="0" eaLnBrk="1" fontAlgn="base" hangingPunct="1">
              <a:spcBef>
                <a:spcPts val="0"/>
              </a:spcBef>
              <a:spcAft>
                <a:spcPct val="0"/>
              </a:spcAft>
              <a:buClr>
                <a:schemeClr val="accent1"/>
              </a:buClr>
              <a:buFont typeface="Arial" panose="020B0604020202020204" pitchFamily="34" charset="0"/>
              <a:buChar char="–"/>
              <a:defRPr sz="1050">
                <a:solidFill>
                  <a:schemeClr val="tx1"/>
                </a:solidFill>
                <a:latin typeface="+mn-lt"/>
                <a:cs typeface="+mn-cs"/>
              </a:defRPr>
            </a:lvl8pPr>
            <a:lvl9pPr marL="737100" indent="-135000" algn="l" defTabSz="432000" rtl="0" eaLnBrk="1" fontAlgn="base" hangingPunct="1">
              <a:spcBef>
                <a:spcPts val="0"/>
              </a:spcBef>
              <a:spcAft>
                <a:spcPct val="0"/>
              </a:spcAft>
              <a:buClr>
                <a:schemeClr val="accent1"/>
              </a:buClr>
              <a:buFont typeface="Arial" panose="020B0604020202020204" pitchFamily="34" charset="0"/>
              <a:buChar char="–"/>
              <a:defRPr sz="1050">
                <a:solidFill>
                  <a:schemeClr val="tx1"/>
                </a:solidFill>
                <a:latin typeface="+mn-lt"/>
                <a:cs typeface="+mn-cs"/>
              </a:defRPr>
            </a:lvl9pPr>
          </a:lstStyle>
          <a:p>
            <a:r>
              <a:rPr lang="en-SG" sz="1400" b="1" kern="0" dirty="0">
                <a:solidFill>
                  <a:schemeClr val="dk1"/>
                </a:solidFill>
              </a:rPr>
              <a:t>Networking</a:t>
            </a:r>
            <a:r>
              <a:rPr lang="en-SG" sz="1400" kern="0" dirty="0">
                <a:solidFill>
                  <a:schemeClr val="dk1"/>
                </a:solidFill>
              </a:rPr>
              <a:t> with other colleagues</a:t>
            </a:r>
          </a:p>
          <a:p>
            <a:pPr marL="0" indent="0">
              <a:buFont typeface="Arial" panose="020B0604020202020204" pitchFamily="34" charset="0"/>
              <a:buNone/>
            </a:pPr>
            <a:endParaRPr lang="en-SG" sz="1400" kern="0" dirty="0">
              <a:solidFill>
                <a:schemeClr val="dk1"/>
              </a:solidFill>
            </a:endParaRPr>
          </a:p>
          <a:p>
            <a:r>
              <a:rPr lang="en-SG" sz="1400" b="1" kern="0" dirty="0">
                <a:solidFill>
                  <a:schemeClr val="dk1"/>
                </a:solidFill>
              </a:rPr>
              <a:t>Knowledge</a:t>
            </a:r>
            <a:r>
              <a:rPr lang="en-SG" sz="1400" kern="0" dirty="0">
                <a:solidFill>
                  <a:schemeClr val="dk1"/>
                </a:solidFill>
              </a:rPr>
              <a:t> </a:t>
            </a:r>
            <a:r>
              <a:rPr lang="en-SG" sz="1400" b="1" kern="0" dirty="0">
                <a:solidFill>
                  <a:schemeClr val="dk1"/>
                </a:solidFill>
              </a:rPr>
              <a:t>gain</a:t>
            </a:r>
            <a:r>
              <a:rPr lang="en-SG" sz="1400" kern="0" dirty="0">
                <a:solidFill>
                  <a:schemeClr val="dk1"/>
                </a:solidFill>
              </a:rPr>
              <a:t> on different Natural language Processing(</a:t>
            </a:r>
            <a:r>
              <a:rPr lang="en-SG" sz="1400" b="1" kern="0" dirty="0">
                <a:solidFill>
                  <a:schemeClr val="dk1"/>
                </a:solidFill>
              </a:rPr>
              <a:t>NLP</a:t>
            </a:r>
            <a:r>
              <a:rPr lang="en-SG" sz="1400" kern="0" dirty="0">
                <a:solidFill>
                  <a:schemeClr val="dk1"/>
                </a:solidFill>
              </a:rPr>
              <a:t>) concepts</a:t>
            </a:r>
          </a:p>
          <a:p>
            <a:pPr marL="0" indent="0">
              <a:buFont typeface="Arial" panose="020B0604020202020204" pitchFamily="34" charset="0"/>
              <a:buNone/>
            </a:pPr>
            <a:endParaRPr lang="en-SG" sz="1400" kern="0" dirty="0">
              <a:solidFill>
                <a:schemeClr val="dk1"/>
              </a:solidFill>
            </a:endParaRPr>
          </a:p>
          <a:p>
            <a:r>
              <a:rPr lang="en-SG" sz="1400" kern="0" dirty="0">
                <a:solidFill>
                  <a:schemeClr val="dk1"/>
                </a:solidFill>
              </a:rPr>
              <a:t>Skills on the way of thinking a </a:t>
            </a:r>
            <a:r>
              <a:rPr lang="en-SG" sz="1400" b="1" kern="0" dirty="0">
                <a:solidFill>
                  <a:schemeClr val="dk1"/>
                </a:solidFill>
              </a:rPr>
              <a:t>workflow</a:t>
            </a:r>
            <a:r>
              <a:rPr lang="en-SG" sz="1400" kern="0" dirty="0">
                <a:solidFill>
                  <a:schemeClr val="dk1"/>
                </a:solidFill>
              </a:rPr>
              <a:t> for solving a problem</a:t>
            </a:r>
          </a:p>
          <a:p>
            <a:pPr marL="0" indent="0">
              <a:buFont typeface="Arial" panose="020B0604020202020204" pitchFamily="34" charset="0"/>
              <a:buNone/>
            </a:pPr>
            <a:endParaRPr lang="en-SG" sz="1400" kern="0" dirty="0">
              <a:solidFill>
                <a:schemeClr val="dk1"/>
              </a:solidFill>
            </a:endParaRPr>
          </a:p>
          <a:p>
            <a:r>
              <a:rPr lang="en-SG" sz="1400" kern="0" dirty="0">
                <a:solidFill>
                  <a:schemeClr val="dk1"/>
                </a:solidFill>
              </a:rPr>
              <a:t>Incredible working experience with </a:t>
            </a:r>
            <a:r>
              <a:rPr lang="en-SG" sz="1400" b="1" kern="0" dirty="0">
                <a:solidFill>
                  <a:schemeClr val="dk1"/>
                </a:solidFill>
              </a:rPr>
              <a:t>Factory Integration</a:t>
            </a:r>
            <a:r>
              <a:rPr lang="en-SG" sz="1400" kern="0" dirty="0">
                <a:solidFill>
                  <a:schemeClr val="dk1"/>
                </a:solidFill>
              </a:rPr>
              <a:t> team</a:t>
            </a:r>
          </a:p>
          <a:p>
            <a:pPr marL="0" indent="0">
              <a:buFont typeface="Arial" panose="020B0604020202020204" pitchFamily="34" charset="0"/>
              <a:buNone/>
            </a:pPr>
            <a:endParaRPr lang="en-SG" sz="1400" kern="0" dirty="0">
              <a:solidFill>
                <a:schemeClr val="dk1"/>
              </a:solidFill>
            </a:endParaRPr>
          </a:p>
          <a:p>
            <a:pPr marL="0" indent="0">
              <a:buFont typeface="Arial" panose="020B0604020202020204" pitchFamily="34" charset="0"/>
              <a:buNone/>
            </a:pPr>
            <a:endParaRPr lang="en-SG" sz="1400" kern="0" dirty="0">
              <a:solidFill>
                <a:schemeClr val="dk1"/>
              </a:solidFill>
            </a:endParaRPr>
          </a:p>
          <a:p>
            <a:pPr marL="0" indent="0">
              <a:buFont typeface="Arial" panose="020B0604020202020204" pitchFamily="34" charset="0"/>
              <a:buNone/>
            </a:pPr>
            <a:r>
              <a:rPr lang="en-SG" sz="1400" kern="0" dirty="0">
                <a:solidFill>
                  <a:schemeClr val="dk1"/>
                </a:solidFill>
              </a:rPr>
              <a:t>Also, I would like to express my heartful thanks to </a:t>
            </a:r>
            <a:r>
              <a:rPr lang="en-SG" sz="1400" b="1" kern="0" dirty="0">
                <a:solidFill>
                  <a:schemeClr val="dk1"/>
                </a:solidFill>
              </a:rPr>
              <a:t>Geok Leng</a:t>
            </a:r>
            <a:r>
              <a:rPr lang="en-SG" sz="1400" kern="0" dirty="0">
                <a:solidFill>
                  <a:schemeClr val="dk1"/>
                </a:solidFill>
              </a:rPr>
              <a:t> and </a:t>
            </a:r>
            <a:r>
              <a:rPr lang="en-SG" sz="1400" b="1" kern="0" dirty="0">
                <a:solidFill>
                  <a:schemeClr val="dk1"/>
                </a:solidFill>
              </a:rPr>
              <a:t>her team</a:t>
            </a:r>
            <a:r>
              <a:rPr lang="en-SG" sz="1400" kern="0" dirty="0">
                <a:solidFill>
                  <a:schemeClr val="dk1"/>
                </a:solidFill>
              </a:rPr>
              <a:t> for giving me the opportunity and supporting me throughout the internship period. </a:t>
            </a:r>
          </a:p>
        </p:txBody>
      </p:sp>
      <p:pic>
        <p:nvPicPr>
          <p:cNvPr id="8" name="Graphic 7" descr="Research">
            <a:extLst>
              <a:ext uri="{FF2B5EF4-FFF2-40B4-BE49-F238E27FC236}">
                <a16:creationId xmlns:a16="http://schemas.microsoft.com/office/drawing/2014/main" id="{A0E8D1D2-AA3D-41E3-9DBC-8B00443FD7E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876632" y="1200150"/>
            <a:ext cx="1439261" cy="1439261"/>
          </a:xfrm>
          <a:prstGeom prst="rect">
            <a:avLst/>
          </a:prstGeom>
        </p:spPr>
      </p:pic>
      <p:sp>
        <p:nvSpPr>
          <p:cNvPr id="9" name="Title 8">
            <a:extLst>
              <a:ext uri="{FF2B5EF4-FFF2-40B4-BE49-F238E27FC236}">
                <a16:creationId xmlns:a16="http://schemas.microsoft.com/office/drawing/2014/main" id="{7D8E80AF-4F81-46D1-9BC5-D40C916AEE30}"/>
              </a:ext>
            </a:extLst>
          </p:cNvPr>
          <p:cNvSpPr>
            <a:spLocks noGrp="1"/>
          </p:cNvSpPr>
          <p:nvPr>
            <p:ph type="title"/>
          </p:nvPr>
        </p:nvSpPr>
        <p:spPr/>
        <p:txBody>
          <a:bodyPr/>
          <a:lstStyle/>
          <a:p>
            <a:r>
              <a:rPr lang="en-SG" dirty="0"/>
              <a:t>Takeaway</a:t>
            </a:r>
          </a:p>
        </p:txBody>
      </p:sp>
      <p:sp>
        <p:nvSpPr>
          <p:cNvPr id="13" name="Slide Number Placeholder 12">
            <a:extLst>
              <a:ext uri="{FF2B5EF4-FFF2-40B4-BE49-F238E27FC236}">
                <a16:creationId xmlns:a16="http://schemas.microsoft.com/office/drawing/2014/main" id="{8FBD632C-31F0-4E01-ABC6-615D2FB29AE4}"/>
              </a:ext>
            </a:extLst>
          </p:cNvPr>
          <p:cNvSpPr>
            <a:spLocks noGrp="1"/>
          </p:cNvSpPr>
          <p:nvPr>
            <p:ph type="sldNum" sz="quarter" idx="16"/>
          </p:nvPr>
        </p:nvSpPr>
        <p:spPr/>
        <p:txBody>
          <a:bodyPr/>
          <a:lstStyle/>
          <a:p>
            <a:r>
              <a:rPr lang="en-US" dirty="0"/>
              <a:t> </a:t>
            </a:r>
          </a:p>
        </p:txBody>
      </p:sp>
    </p:spTree>
    <p:extLst>
      <p:ext uri="{BB962C8B-B14F-4D97-AF65-F5344CB8AC3E}">
        <p14:creationId xmlns:p14="http://schemas.microsoft.com/office/powerpoint/2010/main" val="355611205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4">
            <a:extLst>
              <a:ext uri="{FF2B5EF4-FFF2-40B4-BE49-F238E27FC236}">
                <a16:creationId xmlns:a16="http://schemas.microsoft.com/office/drawing/2014/main" id="{D638C9AE-A2F0-4535-AE20-2141AB46C6C0}"/>
              </a:ext>
            </a:extLst>
          </p:cNvPr>
          <p:cNvSpPr txBox="1">
            <a:spLocks/>
          </p:cNvSpPr>
          <p:nvPr/>
        </p:nvSpPr>
        <p:spPr>
          <a:xfrm>
            <a:off x="250826" y="951311"/>
            <a:ext cx="8640767" cy="3835005"/>
          </a:xfrm>
          <a:prstGeom prst="rect">
            <a:avLst/>
          </a:prstGeom>
        </p:spPr>
        <p:txBody>
          <a:bodyPr vert="horz" lIns="0" tIns="0" rIns="0" bIns="0" rtlCol="0">
            <a:normAutofit/>
          </a:bodyPr>
          <a:lstStyle>
            <a:lvl1pPr marL="135000" indent="-135000" algn="l" defTabSz="432000" rtl="0" eaLnBrk="1" fontAlgn="base" hangingPunct="1">
              <a:spcBef>
                <a:spcPts val="0"/>
              </a:spcBef>
              <a:spcAft>
                <a:spcPts val="0"/>
              </a:spcAft>
              <a:buClr>
                <a:schemeClr val="accent1"/>
              </a:buClr>
              <a:buSzPct val="100000"/>
              <a:buFont typeface="Arial" panose="020B0604020202020204" pitchFamily="34" charset="0"/>
              <a:buChar char="›"/>
              <a:defRPr sz="1500" baseline="0">
                <a:solidFill>
                  <a:schemeClr val="tx1"/>
                </a:solidFill>
                <a:latin typeface="+mn-lt"/>
                <a:ea typeface="+mn-ea"/>
                <a:cs typeface="+mn-cs"/>
              </a:defRPr>
            </a:lvl1pPr>
            <a:lvl2pPr marL="337500" indent="-202500" algn="l" defTabSz="432000" rtl="0" eaLnBrk="1" fontAlgn="base" hangingPunct="1">
              <a:spcBef>
                <a:spcPts val="0"/>
              </a:spcBef>
              <a:spcAft>
                <a:spcPts val="0"/>
              </a:spcAft>
              <a:buClr>
                <a:schemeClr val="accent1"/>
              </a:buClr>
              <a:buSzPct val="100000"/>
              <a:buFont typeface="Verdana" panose="020B0604030504040204" pitchFamily="34" charset="0"/>
              <a:buChar char="–"/>
              <a:defRPr sz="1500">
                <a:solidFill>
                  <a:schemeClr val="tx1"/>
                </a:solidFill>
                <a:latin typeface="+mn-lt"/>
                <a:ea typeface="+mn-ea"/>
                <a:cs typeface="+mn-cs"/>
              </a:defRPr>
            </a:lvl2pPr>
            <a:lvl3pPr marL="472500" indent="-135000" algn="l" defTabSz="432000" rtl="0" eaLnBrk="1" fontAlgn="base" hangingPunct="1">
              <a:spcBef>
                <a:spcPts val="0"/>
              </a:spcBef>
              <a:spcAft>
                <a:spcPts val="0"/>
              </a:spcAft>
              <a:buClr>
                <a:schemeClr val="accent1"/>
              </a:buClr>
              <a:buSzPct val="100000"/>
              <a:buFont typeface="Arial" panose="020B0604020202020204" pitchFamily="34" charset="0"/>
              <a:buChar char="–"/>
              <a:defRPr sz="1350" baseline="0">
                <a:solidFill>
                  <a:schemeClr val="tx1"/>
                </a:solidFill>
                <a:latin typeface="+mn-lt"/>
                <a:ea typeface="+mn-ea"/>
                <a:cs typeface="+mn-cs"/>
              </a:defRPr>
            </a:lvl3pPr>
            <a:lvl4pPr marL="602100" indent="-129600" algn="l" defTabSz="432000" rtl="0" eaLnBrk="1" fontAlgn="base" hangingPunct="1">
              <a:spcBef>
                <a:spcPts val="0"/>
              </a:spcBef>
              <a:spcAft>
                <a:spcPts val="0"/>
              </a:spcAft>
              <a:buClr>
                <a:schemeClr val="accent1"/>
              </a:buClr>
              <a:buSzPct val="100000"/>
              <a:buFont typeface="Arial" panose="020B0604020202020204" pitchFamily="34" charset="0"/>
              <a:buChar char="–"/>
              <a:defRPr sz="1200" baseline="0">
                <a:solidFill>
                  <a:schemeClr val="tx1"/>
                </a:solidFill>
                <a:latin typeface="+mn-lt"/>
                <a:ea typeface="+mn-ea"/>
                <a:cs typeface="+mn-cs"/>
              </a:defRPr>
            </a:lvl4pPr>
            <a:lvl5pPr marL="737100" indent="-135000" algn="l" defTabSz="432000" rtl="0" eaLnBrk="1" fontAlgn="base" hangingPunct="1">
              <a:spcBef>
                <a:spcPts val="0"/>
              </a:spcBef>
              <a:spcAft>
                <a:spcPts val="0"/>
              </a:spcAft>
              <a:buClr>
                <a:schemeClr val="accent1"/>
              </a:buClr>
              <a:buSzPct val="100000"/>
              <a:buFont typeface="Arial" panose="020B0604020202020204" pitchFamily="34" charset="0"/>
              <a:buChar char="–"/>
              <a:defRPr sz="1050" baseline="0">
                <a:solidFill>
                  <a:schemeClr val="tx1"/>
                </a:solidFill>
                <a:latin typeface="+mn-lt"/>
                <a:ea typeface="+mn-ea"/>
                <a:cs typeface="+mn-cs"/>
              </a:defRPr>
            </a:lvl5pPr>
            <a:lvl6pPr marL="737100" indent="-135000" algn="l" defTabSz="432000" rtl="0" eaLnBrk="1" fontAlgn="base" hangingPunct="1">
              <a:spcBef>
                <a:spcPts val="0"/>
              </a:spcBef>
              <a:spcAft>
                <a:spcPts val="0"/>
              </a:spcAft>
              <a:buClr>
                <a:schemeClr val="accent1"/>
              </a:buClr>
              <a:buFont typeface="Arial" panose="020B0604020202020204" pitchFamily="34" charset="0"/>
              <a:buChar char="–"/>
              <a:defRPr sz="1050" baseline="0">
                <a:solidFill>
                  <a:schemeClr val="tx1"/>
                </a:solidFill>
                <a:latin typeface="+mn-lt"/>
                <a:cs typeface="+mn-cs"/>
              </a:defRPr>
            </a:lvl6pPr>
            <a:lvl7pPr marL="737100" indent="-135000" algn="l" defTabSz="432000" rtl="0" eaLnBrk="1" fontAlgn="base" hangingPunct="1">
              <a:spcBef>
                <a:spcPts val="0"/>
              </a:spcBef>
              <a:spcAft>
                <a:spcPct val="0"/>
              </a:spcAft>
              <a:buClr>
                <a:schemeClr val="accent1"/>
              </a:buClr>
              <a:buFont typeface="Arial" panose="020B0604020202020204" pitchFamily="34" charset="0"/>
              <a:buChar char="–"/>
              <a:defRPr sz="1050">
                <a:solidFill>
                  <a:schemeClr val="tx1"/>
                </a:solidFill>
                <a:latin typeface="+mn-lt"/>
                <a:cs typeface="+mn-cs"/>
              </a:defRPr>
            </a:lvl7pPr>
            <a:lvl8pPr marL="737100" indent="-135000" algn="l" defTabSz="432000" rtl="0" eaLnBrk="1" fontAlgn="base" hangingPunct="1">
              <a:spcBef>
                <a:spcPts val="0"/>
              </a:spcBef>
              <a:spcAft>
                <a:spcPct val="0"/>
              </a:spcAft>
              <a:buClr>
                <a:schemeClr val="accent1"/>
              </a:buClr>
              <a:buFont typeface="Arial" panose="020B0604020202020204" pitchFamily="34" charset="0"/>
              <a:buChar char="–"/>
              <a:defRPr sz="1050">
                <a:solidFill>
                  <a:schemeClr val="tx1"/>
                </a:solidFill>
                <a:latin typeface="+mn-lt"/>
                <a:cs typeface="+mn-cs"/>
              </a:defRPr>
            </a:lvl8pPr>
            <a:lvl9pPr marL="737100" indent="-135000" algn="l" defTabSz="432000" rtl="0" eaLnBrk="1" fontAlgn="base" hangingPunct="1">
              <a:spcBef>
                <a:spcPts val="0"/>
              </a:spcBef>
              <a:spcAft>
                <a:spcPct val="0"/>
              </a:spcAft>
              <a:buClr>
                <a:schemeClr val="accent1"/>
              </a:buClr>
              <a:buFont typeface="Arial" panose="020B0604020202020204" pitchFamily="34" charset="0"/>
              <a:buChar char="–"/>
              <a:defRPr sz="1050">
                <a:solidFill>
                  <a:schemeClr val="tx1"/>
                </a:solidFill>
                <a:latin typeface="+mn-lt"/>
                <a:cs typeface="+mn-cs"/>
              </a:defRPr>
            </a:lvl9pPr>
          </a:lstStyle>
          <a:p>
            <a:pPr marL="0" indent="0">
              <a:buFont typeface="Arial" panose="020B0604020202020204" pitchFamily="34" charset="0"/>
              <a:buNone/>
            </a:pPr>
            <a:r>
              <a:rPr lang="en-US" sz="8800" kern="0" dirty="0">
                <a:solidFill>
                  <a:srgbClr val="769F3B"/>
                </a:solidFill>
                <a:latin typeface="Arial" panose="020B0604020202020204" pitchFamily="34" charset="0"/>
              </a:rPr>
              <a:t>Thank You</a:t>
            </a:r>
            <a:endParaRPr lang="en-SG" sz="8800" kern="0" dirty="0">
              <a:solidFill>
                <a:srgbClr val="769F3B"/>
              </a:solidFill>
              <a:latin typeface="Arial" panose="020B0604020202020204" pitchFamily="34" charset="0"/>
            </a:endParaRPr>
          </a:p>
        </p:txBody>
      </p:sp>
      <p:sp>
        <p:nvSpPr>
          <p:cNvPr id="12" name="Slide Number Placeholder 11">
            <a:extLst>
              <a:ext uri="{FF2B5EF4-FFF2-40B4-BE49-F238E27FC236}">
                <a16:creationId xmlns:a16="http://schemas.microsoft.com/office/drawing/2014/main" id="{A6C3F9D1-7CFF-4304-BD77-4A401402BA68}"/>
              </a:ext>
            </a:extLst>
          </p:cNvPr>
          <p:cNvSpPr>
            <a:spLocks noGrp="1"/>
          </p:cNvSpPr>
          <p:nvPr>
            <p:ph type="sldNum" sz="quarter" idx="16"/>
          </p:nvPr>
        </p:nvSpPr>
        <p:spPr/>
        <p:txBody>
          <a:bodyPr/>
          <a:lstStyle/>
          <a:p>
            <a:r>
              <a:rPr lang="en-US" dirty="0"/>
              <a:t> </a:t>
            </a:r>
          </a:p>
        </p:txBody>
      </p:sp>
    </p:spTree>
    <p:extLst>
      <p:ext uri="{BB962C8B-B14F-4D97-AF65-F5344CB8AC3E}">
        <p14:creationId xmlns:p14="http://schemas.microsoft.com/office/powerpoint/2010/main" val="36100524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3C0ADC0-1B92-4B0F-9281-7CBEB6F80904}"/>
              </a:ext>
            </a:extLst>
          </p:cNvPr>
          <p:cNvSpPr>
            <a:spLocks noGrp="1"/>
          </p:cNvSpPr>
          <p:nvPr>
            <p:ph type="sldNum" sz="quarter" idx="12"/>
          </p:nvPr>
        </p:nvSpPr>
        <p:spPr/>
        <p:txBody>
          <a:bodyPr/>
          <a:lstStyle/>
          <a:p>
            <a:r>
              <a:rPr lang="en-US" dirty="0"/>
              <a:t> </a:t>
            </a:r>
          </a:p>
        </p:txBody>
      </p:sp>
    </p:spTree>
    <p:extLst>
      <p:ext uri="{BB962C8B-B14F-4D97-AF65-F5344CB8AC3E}">
        <p14:creationId xmlns:p14="http://schemas.microsoft.com/office/powerpoint/2010/main" val="7220456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AgendaEditor">
            <a:extLst>
              <a:ext uri="{FF2B5EF4-FFF2-40B4-BE49-F238E27FC236}">
                <a16:creationId xmlns:a16="http://schemas.microsoft.com/office/drawing/2014/main" id="{4F6D395D-1B43-4F8D-9147-63A6C6F93C23}"/>
              </a:ext>
            </a:extLst>
          </p:cNvPr>
          <p:cNvSpPr txBox="1"/>
          <p:nvPr/>
        </p:nvSpPr>
        <p:spPr bwMode="auto">
          <a:xfrm>
            <a:off x="250826" y="951311"/>
            <a:ext cx="8640764" cy="3835004"/>
          </a:xfrm>
          <a:prstGeom prst="rect">
            <a:avLst/>
          </a:prstGeom>
          <a:pattFill>
            <a:fgClr>
              <a:srgbClr val="FFFFFF"/>
            </a:fgClr>
            <a:bgClr>
              <a:srgbClr val="FFFFFF"/>
            </a:bgClr>
          </a:pattFill>
        </p:spPr>
        <p:txBody>
          <a:bodyPr vert="horz" lIns="0" tIns="0" rIns="0" bIns="0" rtlCol="0">
            <a:normAutofit lnSpcReduction="10000"/>
          </a:bodyPr>
          <a:lstStyle>
            <a:lvl1pPr marL="288000" lvl="0" indent="-288000" eaLnBrk="1" hangingPunct="1">
              <a:spcBef>
                <a:spcPts val="0"/>
              </a:spcBef>
              <a:spcAft>
                <a:spcPts val="0"/>
              </a:spcAft>
              <a:buClr>
                <a:schemeClr val="accent1"/>
              </a:buClr>
              <a:buSzPct val="100000"/>
              <a:buFont typeface="Arial" panose="020B0604020202020204" pitchFamily="34" charset="0"/>
              <a:buChar char="›"/>
              <a:defRPr sz="1800" baseline="0">
                <a:latin typeface="Arial" panose="020B0604020202020204" pitchFamily="34" charset="0"/>
                <a:cs typeface="Arial" panose="020B0604020202020204" pitchFamily="34" charset="0"/>
              </a:defRPr>
            </a:lvl1pPr>
            <a:lvl2pPr marL="576000" lvl="1" indent="-288000" eaLnBrk="1" hangingPunct="1">
              <a:spcBef>
                <a:spcPts val="0"/>
              </a:spcBef>
              <a:spcAft>
                <a:spcPts val="0"/>
              </a:spcAft>
              <a:buClr>
                <a:schemeClr val="accent1"/>
              </a:buClr>
              <a:buSzPct val="100000"/>
              <a:buFont typeface="Verdana" panose="020B0604030504040204" pitchFamily="34" charset="0"/>
              <a:buChar char="–"/>
              <a:defRPr sz="1800">
                <a:latin typeface="Arial" panose="020B0604020202020204" pitchFamily="34" charset="0"/>
              </a:defRPr>
            </a:lvl2pPr>
            <a:lvl3pPr marL="864000" lvl="2" indent="-288000" eaLnBrk="1" hangingPunct="1">
              <a:spcBef>
                <a:spcPts val="0"/>
              </a:spcBef>
              <a:spcAft>
                <a:spcPts val="0"/>
              </a:spcAft>
              <a:buClr>
                <a:schemeClr val="accent1"/>
              </a:buClr>
              <a:buSzPct val="100000"/>
              <a:buFont typeface="Verdana" pitchFamily="34" charset="0"/>
              <a:buChar char="–"/>
              <a:defRPr sz="1600" baseline="0">
                <a:latin typeface="Arial" panose="020B0604020202020204" pitchFamily="34" charset="0"/>
              </a:defRPr>
            </a:lvl3pPr>
            <a:lvl4pPr marL="1080000" lvl="3" indent="-216000" eaLnBrk="1" hangingPunct="1">
              <a:spcBef>
                <a:spcPts val="0"/>
              </a:spcBef>
              <a:spcAft>
                <a:spcPts val="0"/>
              </a:spcAft>
              <a:buClr>
                <a:schemeClr val="accent1"/>
              </a:buClr>
              <a:buSzPct val="100000"/>
              <a:buFont typeface="Verdana" panose="020B0604030504040204" pitchFamily="34" charset="0"/>
              <a:buChar char="–"/>
              <a:defRPr sz="1400" baseline="0">
                <a:latin typeface="Arial" panose="020B0604020202020204" pitchFamily="34" charset="0"/>
              </a:defRPr>
            </a:lvl4pPr>
            <a:lvl5pPr marL="1296000" lvl="4" indent="-216000" eaLnBrk="1" hangingPunct="1">
              <a:spcBef>
                <a:spcPts val="0"/>
              </a:spcBef>
              <a:spcAft>
                <a:spcPts val="0"/>
              </a:spcAft>
              <a:buClr>
                <a:schemeClr val="accent1"/>
              </a:buClr>
              <a:buSzPct val="100000"/>
              <a:buFont typeface="Verdana" panose="020B0604030504040204" pitchFamily="34" charset="0"/>
              <a:buChar char="–"/>
              <a:defRPr sz="1200" baseline="0">
                <a:latin typeface="Arial" panose="020B0604020202020204" pitchFamily="34" charset="0"/>
              </a:defRPr>
            </a:lvl5pPr>
            <a:lvl6pPr marL="1296000" indent="-216000" fontAlgn="base">
              <a:spcBef>
                <a:spcPts val="0"/>
              </a:spcBef>
              <a:spcAft>
                <a:spcPts val="300"/>
              </a:spcAft>
              <a:buClr>
                <a:schemeClr val="accent1"/>
              </a:buClr>
              <a:buFont typeface="Verdana" pitchFamily="34" charset="0"/>
              <a:buNone/>
              <a:defRPr sz="1400" baseline="0">
                <a:latin typeface="Verdana" pitchFamily="34" charset="0"/>
              </a:defRPr>
            </a:lvl6pPr>
            <a:lvl7pPr marL="2514600" indent="-228600" fontAlgn="base">
              <a:spcBef>
                <a:spcPct val="25000"/>
              </a:spcBef>
              <a:spcAft>
                <a:spcPct val="0"/>
              </a:spcAft>
              <a:buClr>
                <a:schemeClr val="tx1"/>
              </a:buClr>
              <a:buChar char="–"/>
              <a:defRPr sz="2000">
                <a:solidFill>
                  <a:srgbClr val="666666"/>
                </a:solidFill>
                <a:latin typeface="+mn-lt"/>
              </a:defRPr>
            </a:lvl7pPr>
            <a:lvl8pPr marL="2971800" indent="-228600" fontAlgn="base">
              <a:spcBef>
                <a:spcPct val="25000"/>
              </a:spcBef>
              <a:spcAft>
                <a:spcPct val="0"/>
              </a:spcAft>
              <a:buClr>
                <a:schemeClr val="tx1"/>
              </a:buClr>
              <a:buChar char="–"/>
              <a:defRPr sz="2000">
                <a:solidFill>
                  <a:srgbClr val="666666"/>
                </a:solidFill>
                <a:latin typeface="+mn-lt"/>
              </a:defRPr>
            </a:lvl8pPr>
            <a:lvl9pPr marL="3429000" indent="-228600" fontAlgn="base">
              <a:spcBef>
                <a:spcPct val="25000"/>
              </a:spcBef>
              <a:spcAft>
                <a:spcPct val="0"/>
              </a:spcAft>
              <a:buClr>
                <a:schemeClr val="tx1"/>
              </a:buClr>
              <a:buChar char="–"/>
              <a:defRPr sz="2000">
                <a:solidFill>
                  <a:srgbClr val="666666"/>
                </a:solidFill>
                <a:latin typeface="+mn-lt"/>
              </a:defRPr>
            </a:lvl9pPr>
          </a:lstStyle>
          <a:p>
            <a:pPr>
              <a:buFont typeface="Arial" panose="020B0604020202020204" pitchFamily="34" charset="0"/>
              <a:buChar char="›"/>
            </a:pPr>
            <a:r>
              <a:rPr lang="en-US" sz="1400" dirty="0">
                <a:solidFill>
                  <a:schemeClr val="dk1"/>
                </a:solidFill>
              </a:rPr>
              <a:t>My Introduction</a:t>
            </a:r>
          </a:p>
          <a:p>
            <a:pPr marL="0" indent="0">
              <a:buNone/>
            </a:pPr>
            <a:endParaRPr lang="en-SG" sz="1400" dirty="0">
              <a:solidFill>
                <a:schemeClr val="dk1"/>
              </a:solidFill>
            </a:endParaRPr>
          </a:p>
          <a:p>
            <a:pPr>
              <a:buFont typeface="Arial" panose="020B0604020202020204" pitchFamily="34" charset="0"/>
              <a:buChar char="›"/>
            </a:pPr>
            <a:r>
              <a:rPr lang="en-SG" sz="1400" b="1" dirty="0">
                <a:solidFill>
                  <a:schemeClr val="dk1"/>
                </a:solidFill>
              </a:rPr>
              <a:t>Unsupervised Modelling</a:t>
            </a:r>
            <a:r>
              <a:rPr lang="en-SG" sz="1400" dirty="0">
                <a:solidFill>
                  <a:schemeClr val="dk1"/>
                </a:solidFill>
              </a:rPr>
              <a:t> For </a:t>
            </a:r>
            <a:r>
              <a:rPr lang="en-SG" sz="1400" b="1" dirty="0">
                <a:solidFill>
                  <a:schemeClr val="dk1"/>
                </a:solidFill>
              </a:rPr>
              <a:t>Remedy Incident Tickets</a:t>
            </a:r>
          </a:p>
          <a:p>
            <a:pPr marL="0" indent="0">
              <a:buNone/>
            </a:pPr>
            <a:endParaRPr lang="en-SG" sz="1400" b="1" dirty="0">
              <a:solidFill>
                <a:schemeClr val="dk1"/>
              </a:solidFill>
            </a:endParaRPr>
          </a:p>
          <a:p>
            <a:pPr lvl="1">
              <a:buFont typeface="Verdana" panose="020B0604030504040204" pitchFamily="34" charset="0"/>
              <a:buChar char="–"/>
            </a:pPr>
            <a:r>
              <a:rPr lang="en-SG" sz="1400" b="1" dirty="0">
                <a:solidFill>
                  <a:schemeClr val="dk1"/>
                </a:solidFill>
              </a:rPr>
              <a:t>Background</a:t>
            </a:r>
            <a:r>
              <a:rPr lang="en-SG" sz="1400" dirty="0">
                <a:solidFill>
                  <a:schemeClr val="dk1"/>
                </a:solidFill>
              </a:rPr>
              <a:t> of the problem</a:t>
            </a:r>
          </a:p>
          <a:p>
            <a:pPr marL="288000" lvl="1" indent="0">
              <a:buNone/>
            </a:pPr>
            <a:endParaRPr lang="en-SG" sz="1400" dirty="0">
              <a:solidFill>
                <a:schemeClr val="dk1"/>
              </a:solidFill>
            </a:endParaRPr>
          </a:p>
          <a:p>
            <a:pPr lvl="1">
              <a:buFont typeface="Verdana" panose="020B0604030504040204" pitchFamily="34" charset="0"/>
              <a:buChar char="–"/>
            </a:pPr>
            <a:r>
              <a:rPr lang="en-SG" sz="1400" b="1" dirty="0">
                <a:solidFill>
                  <a:schemeClr val="dk1"/>
                </a:solidFill>
              </a:rPr>
              <a:t>Data Processing </a:t>
            </a:r>
            <a:r>
              <a:rPr lang="en-SG" sz="1400" dirty="0">
                <a:solidFill>
                  <a:schemeClr val="dk1"/>
                </a:solidFill>
              </a:rPr>
              <a:t>steps using Natural language Processing(NLP)</a:t>
            </a:r>
          </a:p>
          <a:p>
            <a:pPr marL="288000" lvl="1" indent="0">
              <a:buNone/>
            </a:pPr>
            <a:endParaRPr lang="en-SG" sz="1400" dirty="0">
              <a:solidFill>
                <a:schemeClr val="dk1"/>
              </a:solidFill>
            </a:endParaRPr>
          </a:p>
          <a:p>
            <a:pPr lvl="1">
              <a:buFont typeface="Verdana" panose="020B0604030504040204" pitchFamily="34" charset="0"/>
              <a:buChar char="–"/>
            </a:pPr>
            <a:r>
              <a:rPr lang="en-SG" sz="1400" dirty="0">
                <a:solidFill>
                  <a:schemeClr val="dk1"/>
                </a:solidFill>
              </a:rPr>
              <a:t>Machine Learning </a:t>
            </a:r>
            <a:r>
              <a:rPr lang="en-SG" sz="1400" b="1" dirty="0">
                <a:solidFill>
                  <a:schemeClr val="dk1"/>
                </a:solidFill>
              </a:rPr>
              <a:t>Model familiarity</a:t>
            </a:r>
          </a:p>
          <a:p>
            <a:pPr marL="288000" lvl="1" indent="0">
              <a:buNone/>
            </a:pPr>
            <a:endParaRPr lang="en-SG" sz="1400" b="1" dirty="0">
              <a:solidFill>
                <a:schemeClr val="dk1"/>
              </a:solidFill>
            </a:endParaRPr>
          </a:p>
          <a:p>
            <a:pPr lvl="1">
              <a:buFont typeface="Verdana" panose="020B0604030504040204" pitchFamily="34" charset="0"/>
              <a:buChar char="–"/>
            </a:pPr>
            <a:r>
              <a:rPr lang="en-SG" sz="1400" b="1" dirty="0">
                <a:solidFill>
                  <a:schemeClr val="dk1"/>
                </a:solidFill>
              </a:rPr>
              <a:t>Unsupervised</a:t>
            </a:r>
            <a:r>
              <a:rPr lang="en-SG" sz="1400" dirty="0">
                <a:solidFill>
                  <a:schemeClr val="dk1"/>
                </a:solidFill>
              </a:rPr>
              <a:t> Models</a:t>
            </a:r>
          </a:p>
          <a:p>
            <a:pPr marL="288000" lvl="1" indent="0">
              <a:buNone/>
            </a:pPr>
            <a:endParaRPr lang="en-SG" sz="1400" dirty="0">
              <a:solidFill>
                <a:schemeClr val="dk1"/>
              </a:solidFill>
            </a:endParaRPr>
          </a:p>
          <a:p>
            <a:pPr lvl="1">
              <a:buFont typeface="Verdana" panose="020B0604030504040204" pitchFamily="34" charset="0"/>
              <a:buChar char="–"/>
            </a:pPr>
            <a:r>
              <a:rPr lang="en-SG" sz="1400" b="1" dirty="0">
                <a:solidFill>
                  <a:schemeClr val="dk1"/>
                </a:solidFill>
              </a:rPr>
              <a:t>LDA(Latent Dirichlet Allocation)</a:t>
            </a:r>
            <a:r>
              <a:rPr lang="en-SG" sz="1400" dirty="0">
                <a:solidFill>
                  <a:schemeClr val="dk1"/>
                </a:solidFill>
              </a:rPr>
              <a:t> technique</a:t>
            </a:r>
          </a:p>
          <a:p>
            <a:pPr marL="288000" lvl="1" indent="0">
              <a:buNone/>
            </a:pPr>
            <a:endParaRPr lang="en-SG" sz="1400" dirty="0">
              <a:solidFill>
                <a:schemeClr val="dk1"/>
              </a:solidFill>
            </a:endParaRPr>
          </a:p>
          <a:p>
            <a:pPr lvl="1">
              <a:buFont typeface="Verdana" panose="020B0604030504040204" pitchFamily="34" charset="0"/>
              <a:buChar char="–"/>
            </a:pPr>
            <a:r>
              <a:rPr lang="en-SG" sz="1400" b="1" dirty="0">
                <a:solidFill>
                  <a:schemeClr val="dk1"/>
                </a:solidFill>
              </a:rPr>
              <a:t>TF-IDF</a:t>
            </a:r>
            <a:r>
              <a:rPr lang="en-SG" sz="1400" dirty="0">
                <a:solidFill>
                  <a:schemeClr val="dk1"/>
                </a:solidFill>
              </a:rPr>
              <a:t> Vectorizer</a:t>
            </a:r>
          </a:p>
          <a:p>
            <a:pPr marL="288000" lvl="1" indent="0">
              <a:buNone/>
            </a:pPr>
            <a:endParaRPr lang="en-SG" sz="1400" dirty="0">
              <a:solidFill>
                <a:schemeClr val="dk1"/>
              </a:solidFill>
            </a:endParaRPr>
          </a:p>
          <a:p>
            <a:pPr lvl="1">
              <a:buFont typeface="Verdana" panose="020B0604030504040204" pitchFamily="34" charset="0"/>
              <a:buChar char="–"/>
            </a:pPr>
            <a:r>
              <a:rPr lang="en-SG" sz="1400" dirty="0">
                <a:solidFill>
                  <a:schemeClr val="dk1"/>
                </a:solidFill>
              </a:rPr>
              <a:t>Model </a:t>
            </a:r>
            <a:r>
              <a:rPr lang="en-SG" sz="1400" b="1" dirty="0">
                <a:solidFill>
                  <a:schemeClr val="dk1"/>
                </a:solidFill>
              </a:rPr>
              <a:t>Pipeline</a:t>
            </a:r>
          </a:p>
          <a:p>
            <a:pPr marL="0" indent="0">
              <a:buNone/>
            </a:pPr>
            <a:endParaRPr lang="en-US" sz="1400" dirty="0">
              <a:solidFill>
                <a:schemeClr val="dk1"/>
              </a:solidFill>
            </a:endParaRPr>
          </a:p>
          <a:p>
            <a:pPr>
              <a:buFont typeface="Arial" panose="020B0604020202020204" pitchFamily="34" charset="0"/>
              <a:buChar char="›"/>
            </a:pPr>
            <a:r>
              <a:rPr lang="en-US" sz="1400" b="1" dirty="0">
                <a:solidFill>
                  <a:schemeClr val="dk1"/>
                </a:solidFill>
              </a:rPr>
              <a:t>Chatbot Dialog Flow concept</a:t>
            </a:r>
            <a:r>
              <a:rPr lang="en-US" sz="1400" dirty="0">
                <a:solidFill>
                  <a:schemeClr val="dk1"/>
                </a:solidFill>
              </a:rPr>
              <a:t> for Printing Service</a:t>
            </a:r>
          </a:p>
          <a:p>
            <a:pPr marL="0" indent="0">
              <a:buNone/>
            </a:pPr>
            <a:endParaRPr lang="en-US" sz="1400" dirty="0"/>
          </a:p>
        </p:txBody>
      </p:sp>
      <p:sp>
        <p:nvSpPr>
          <p:cNvPr id="23" name="Title 22">
            <a:extLst>
              <a:ext uri="{FF2B5EF4-FFF2-40B4-BE49-F238E27FC236}">
                <a16:creationId xmlns:a16="http://schemas.microsoft.com/office/drawing/2014/main" id="{CC50C3BB-5733-4FA9-912D-F5230C4F1FDB}"/>
              </a:ext>
            </a:extLst>
          </p:cNvPr>
          <p:cNvSpPr>
            <a:spLocks noGrp="1"/>
          </p:cNvSpPr>
          <p:nvPr>
            <p:ph type="title"/>
          </p:nvPr>
        </p:nvSpPr>
        <p:spPr/>
        <p:txBody>
          <a:bodyPr/>
          <a:lstStyle/>
          <a:p>
            <a:r>
              <a:rPr lang="en-SG" dirty="0"/>
              <a:t>Agenda</a:t>
            </a:r>
          </a:p>
        </p:txBody>
      </p:sp>
      <p:sp>
        <p:nvSpPr>
          <p:cNvPr id="42" name="Slide Number Placeholder 41">
            <a:extLst>
              <a:ext uri="{FF2B5EF4-FFF2-40B4-BE49-F238E27FC236}">
                <a16:creationId xmlns:a16="http://schemas.microsoft.com/office/drawing/2014/main" id="{9F995FBF-5761-4E38-AEEB-59D61000A61D}"/>
              </a:ext>
            </a:extLst>
          </p:cNvPr>
          <p:cNvSpPr>
            <a:spLocks noGrp="1"/>
          </p:cNvSpPr>
          <p:nvPr>
            <p:ph type="sldNum" sz="quarter" idx="38"/>
          </p:nvPr>
        </p:nvSpPr>
        <p:spPr/>
        <p:txBody>
          <a:bodyPr/>
          <a:lstStyle/>
          <a:p>
            <a:r>
              <a:rPr lang="en-US" dirty="0"/>
              <a:t> </a:t>
            </a:r>
          </a:p>
        </p:txBody>
      </p:sp>
    </p:spTree>
    <p:custDataLst>
      <p:tags r:id="rId1"/>
    </p:custDataLst>
    <p:extLst>
      <p:ext uri="{BB962C8B-B14F-4D97-AF65-F5344CB8AC3E}">
        <p14:creationId xmlns:p14="http://schemas.microsoft.com/office/powerpoint/2010/main" val="318612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a:extLst>
              <a:ext uri="{FF2B5EF4-FFF2-40B4-BE49-F238E27FC236}">
                <a16:creationId xmlns:a16="http://schemas.microsoft.com/office/drawing/2014/main" id="{2C49EE1D-EB65-42E8-9CAD-4B1EFA122C85}"/>
              </a:ext>
            </a:extLst>
          </p:cNvPr>
          <p:cNvGraphicFramePr>
            <a:graphicFrameLocks/>
          </p:cNvGraphicFramePr>
          <p:nvPr>
            <p:extLst>
              <p:ext uri="{D42A27DB-BD31-4B8C-83A1-F6EECF244321}">
                <p14:modId xmlns:p14="http://schemas.microsoft.com/office/powerpoint/2010/main" val="758202741"/>
              </p:ext>
            </p:extLst>
          </p:nvPr>
        </p:nvGraphicFramePr>
        <p:xfrm>
          <a:off x="272728" y="1159082"/>
          <a:ext cx="8531166" cy="356313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Rectangle 7">
            <a:extLst>
              <a:ext uri="{FF2B5EF4-FFF2-40B4-BE49-F238E27FC236}">
                <a16:creationId xmlns:a16="http://schemas.microsoft.com/office/drawing/2014/main" id="{5CFB706F-1F3C-423E-A3D9-F16267E6218F}"/>
              </a:ext>
            </a:extLst>
          </p:cNvPr>
          <p:cNvSpPr/>
          <p:nvPr/>
        </p:nvSpPr>
        <p:spPr bwMode="auto">
          <a:xfrm>
            <a:off x="250826" y="1008422"/>
            <a:ext cx="2277409" cy="3777893"/>
          </a:xfrm>
          <a:prstGeom prst="rect">
            <a:avLst/>
          </a:prstGeom>
          <a:gradFill>
            <a:gsLst>
              <a:gs pos="73000">
                <a:schemeClr val="bg1"/>
              </a:gs>
              <a:gs pos="100000">
                <a:schemeClr val="tx2"/>
              </a:gs>
            </a:gsLst>
            <a:lin ang="5400000" scaled="1"/>
          </a:gradFill>
          <a:ln w="9525">
            <a:noFill/>
            <a:miter lim="800000"/>
            <a:headEnd/>
            <a:tailEnd/>
          </a:ln>
        </p:spPr>
        <p:txBody>
          <a:bodyPr wrap="square" lIns="72000" tIns="72000" rIns="72000" bIns="72000" rtlCol="0" anchor="ctr"/>
          <a:lstStyle/>
          <a:p>
            <a:pPr algn="ctr" eaLnBrk="0" hangingPunct="0"/>
            <a:endParaRPr lang="en-MY" sz="1600" dirty="0">
              <a:latin typeface="+mn-lt"/>
              <a:ea typeface="Verdana" pitchFamily="34" charset="0"/>
              <a:cs typeface="Verdana" pitchFamily="34" charset="0"/>
            </a:endParaRPr>
          </a:p>
        </p:txBody>
      </p:sp>
      <p:sp>
        <p:nvSpPr>
          <p:cNvPr id="9" name="Line 10">
            <a:extLst>
              <a:ext uri="{FF2B5EF4-FFF2-40B4-BE49-F238E27FC236}">
                <a16:creationId xmlns:a16="http://schemas.microsoft.com/office/drawing/2014/main" id="{30DE297F-8369-4EB8-9911-D004681B5943}"/>
              </a:ext>
            </a:extLst>
          </p:cNvPr>
          <p:cNvSpPr>
            <a:spLocks noChangeShapeType="1"/>
          </p:cNvSpPr>
          <p:nvPr/>
        </p:nvSpPr>
        <p:spPr bwMode="auto">
          <a:xfrm>
            <a:off x="2576528" y="951312"/>
            <a:ext cx="43010" cy="3835001"/>
          </a:xfrm>
          <a:prstGeom prst="line">
            <a:avLst/>
          </a:prstGeom>
          <a:noFill/>
          <a:ln w="12700" cap="flat" cmpd="sng" algn="ctr">
            <a:solidFill>
              <a:schemeClr val="dk1"/>
            </a:solidFill>
            <a:prstDash val="solid"/>
            <a:round/>
            <a:headEnd type="none" w="med" len="med"/>
            <a:tailEnd type="none" w="med" len="med"/>
          </a:ln>
          <a:effectLst/>
        </p:spPr>
        <p:txBody>
          <a:bodyPr wrap="none" lIns="90000" tIns="46800" rIns="90000" bIns="46800" anchor="ctr">
            <a:noAutofit/>
          </a:bodyPr>
          <a:lstStyle/>
          <a:p>
            <a:endParaRPr lang="en-MY" dirty="0"/>
          </a:p>
        </p:txBody>
      </p:sp>
      <p:sp>
        <p:nvSpPr>
          <p:cNvPr id="10" name="Text Box 6">
            <a:extLst>
              <a:ext uri="{FF2B5EF4-FFF2-40B4-BE49-F238E27FC236}">
                <a16:creationId xmlns:a16="http://schemas.microsoft.com/office/drawing/2014/main" id="{A8FC673E-9BCD-4E69-89C5-15C65780A460}"/>
              </a:ext>
            </a:extLst>
          </p:cNvPr>
          <p:cNvSpPr txBox="1">
            <a:spLocks noChangeArrowheads="1"/>
          </p:cNvSpPr>
          <p:nvPr/>
        </p:nvSpPr>
        <p:spPr bwMode="auto">
          <a:xfrm>
            <a:off x="387680" y="3744417"/>
            <a:ext cx="2160764" cy="808344"/>
          </a:xfrm>
          <a:prstGeom prst="rect">
            <a:avLst/>
          </a:prstGeom>
          <a:noFill/>
          <a:ln w="12700" algn="ctr">
            <a:noFill/>
            <a:miter lim="800000"/>
            <a:headEnd/>
            <a:tailEnd/>
          </a:ln>
          <a:effectLst/>
        </p:spPr>
        <p:txBody>
          <a:bodyPr wrap="square" lIns="90000" tIns="46800" rIns="90000" bIns="46800">
            <a:spAutoFit/>
          </a:bodyPr>
          <a:lstStyle/>
          <a:p>
            <a:pPr eaLnBrk="0" hangingPunct="0">
              <a:buClr>
                <a:schemeClr val="tx1"/>
              </a:buClr>
              <a:tabLst>
                <a:tab pos="1200150" algn="l"/>
              </a:tabLst>
            </a:pPr>
            <a:r>
              <a:rPr lang="en-US" sz="1400" b="1" u="sng" dirty="0">
                <a:solidFill>
                  <a:schemeClr val="dk1"/>
                </a:solidFill>
                <a:latin typeface="+mn-lt"/>
                <a:ea typeface="Arial Unicode MS" pitchFamily="34" charset="-128"/>
                <a:cs typeface="Arial Unicode MS" pitchFamily="34" charset="-128"/>
              </a:rPr>
              <a:t>Reporting Manager:</a:t>
            </a:r>
          </a:p>
          <a:p>
            <a:pPr algn="l" eaLnBrk="0" hangingPunct="0">
              <a:buClr>
                <a:schemeClr val="tx1"/>
              </a:buClr>
              <a:tabLst>
                <a:tab pos="1200150" algn="l"/>
              </a:tabLst>
            </a:pPr>
            <a:endParaRPr lang="en-US" sz="1400" dirty="0">
              <a:solidFill>
                <a:schemeClr val="dk1"/>
              </a:solidFill>
              <a:latin typeface="+mn-lt"/>
              <a:ea typeface="Arial Unicode MS" pitchFamily="34" charset="-128"/>
              <a:cs typeface="Arial Unicode MS" pitchFamily="34" charset="-128"/>
            </a:endParaRPr>
          </a:p>
          <a:p>
            <a:pPr eaLnBrk="0" hangingPunct="0">
              <a:lnSpc>
                <a:spcPct val="80000"/>
              </a:lnSpc>
              <a:tabLst>
                <a:tab pos="1200150" algn="l"/>
              </a:tabLst>
            </a:pPr>
            <a:r>
              <a:rPr lang="en-US" sz="1400" dirty="0">
                <a:solidFill>
                  <a:schemeClr val="dk1"/>
                </a:solidFill>
                <a:latin typeface="+mn-lt"/>
                <a:ea typeface="Arial Unicode MS" pitchFamily="34" charset="-128"/>
                <a:cs typeface="Arial Unicode MS" pitchFamily="34" charset="-128"/>
              </a:rPr>
              <a:t>Legal: </a:t>
            </a:r>
            <a:r>
              <a:rPr lang="en-US" sz="1400" dirty="0">
                <a:solidFill>
                  <a:schemeClr val="dk1"/>
                </a:solidFill>
                <a:ea typeface="Arial Unicode MS" pitchFamily="34" charset="-128"/>
                <a:cs typeface="Arial Unicode MS" pitchFamily="34" charset="-128"/>
              </a:rPr>
              <a:t>Tan </a:t>
            </a:r>
            <a:r>
              <a:rPr lang="en-US" sz="1400" dirty="0">
                <a:solidFill>
                  <a:schemeClr val="dk1"/>
                </a:solidFill>
                <a:latin typeface="+mn-lt"/>
                <a:ea typeface="Arial Unicode MS" pitchFamily="34" charset="-128"/>
                <a:cs typeface="Arial Unicode MS" pitchFamily="34" charset="-128"/>
              </a:rPr>
              <a:t>Geok Leng(IFAP CSC FI BE)</a:t>
            </a:r>
          </a:p>
        </p:txBody>
      </p:sp>
      <p:sp>
        <p:nvSpPr>
          <p:cNvPr id="11" name="Text Box 12">
            <a:extLst>
              <a:ext uri="{FF2B5EF4-FFF2-40B4-BE49-F238E27FC236}">
                <a16:creationId xmlns:a16="http://schemas.microsoft.com/office/drawing/2014/main" id="{9890A4DE-AF8B-4F29-AA85-675563E46CDD}"/>
              </a:ext>
            </a:extLst>
          </p:cNvPr>
          <p:cNvSpPr txBox="1">
            <a:spLocks noChangeArrowheads="1"/>
          </p:cNvSpPr>
          <p:nvPr/>
        </p:nvSpPr>
        <p:spPr bwMode="auto">
          <a:xfrm>
            <a:off x="2673473" y="951311"/>
            <a:ext cx="6180118" cy="1202510"/>
          </a:xfrm>
          <a:prstGeom prst="rect">
            <a:avLst/>
          </a:prstGeom>
          <a:noFill/>
          <a:ln w="12700" algn="ctr">
            <a:noFill/>
            <a:miter lim="800000"/>
            <a:headEnd/>
            <a:tailEnd/>
          </a:ln>
          <a:effectLst/>
        </p:spPr>
        <p:txBody>
          <a:bodyPr lIns="90000" tIns="46800" rIns="90000" bIns="46800">
            <a:spAutoFit/>
          </a:bodyPr>
          <a:lstStyle/>
          <a:p>
            <a:pPr marL="228600" indent="-228600" algn="l" defTabSz="1028700" eaLnBrk="0" hangingPunct="0">
              <a:buClr>
                <a:schemeClr val="tx1"/>
              </a:buClr>
              <a:tabLst>
                <a:tab pos="1543050" algn="l"/>
                <a:tab pos="4114800" algn="l"/>
              </a:tabLst>
            </a:pPr>
            <a:r>
              <a:rPr lang="en-US" sz="1600" b="1" dirty="0">
                <a:solidFill>
                  <a:schemeClr val="dk1"/>
                </a:solidFill>
                <a:latin typeface="+mn-lt"/>
                <a:ea typeface="Arial Unicode MS" pitchFamily="34" charset="-128"/>
                <a:cs typeface="Arial Unicode MS" pitchFamily="34" charset="-128"/>
              </a:rPr>
              <a:t>EMPLOYEE PROFILE:</a:t>
            </a:r>
          </a:p>
          <a:p>
            <a:pPr marL="285750" indent="-285750" defTabSz="1028700" eaLnBrk="0" hangingPunct="0">
              <a:buClr>
                <a:schemeClr val="tx1"/>
              </a:buClr>
              <a:buSzPct val="75000"/>
              <a:buFont typeface="Arial" panose="020B0604020202020204" pitchFamily="34" charset="0"/>
              <a:buChar char="›"/>
              <a:tabLst>
                <a:tab pos="1543050" algn="l"/>
                <a:tab pos="4114800" algn="l"/>
              </a:tabLst>
            </a:pPr>
            <a:r>
              <a:rPr lang="en-US" sz="1400" dirty="0">
                <a:solidFill>
                  <a:schemeClr val="dk1"/>
                </a:solidFill>
                <a:latin typeface="+mn-lt"/>
                <a:ea typeface="Arial Unicode MS" pitchFamily="34" charset="-128"/>
                <a:cs typeface="Arial Unicode MS" pitchFamily="34" charset="-128"/>
              </a:rPr>
              <a:t>Organization Unit: </a:t>
            </a:r>
            <a:r>
              <a:rPr lang="en-GB" sz="1400" dirty="0">
                <a:solidFill>
                  <a:schemeClr val="dk1"/>
                </a:solidFill>
                <a:latin typeface="+mn-lt"/>
                <a:ea typeface="Arial Unicode MS" pitchFamily="34" charset="-128"/>
                <a:cs typeface="Arial Unicode MS" pitchFamily="34" charset="-128"/>
              </a:rPr>
              <a:t>IFAP CSC FI BE BOC</a:t>
            </a:r>
            <a:endParaRPr lang="en-US" sz="1400" dirty="0">
              <a:solidFill>
                <a:schemeClr val="dk1"/>
              </a:solidFill>
              <a:latin typeface="+mn-lt"/>
              <a:ea typeface="Arial Unicode MS" pitchFamily="34" charset="-128"/>
              <a:cs typeface="Arial Unicode MS" pitchFamily="34" charset="-128"/>
            </a:endParaRPr>
          </a:p>
          <a:p>
            <a:pPr marL="285750" indent="-285750" defTabSz="1028700" eaLnBrk="0" hangingPunct="0">
              <a:buClr>
                <a:schemeClr val="tx1"/>
              </a:buClr>
              <a:buSzPct val="75000"/>
              <a:buFont typeface="Arial" panose="020B0604020202020204" pitchFamily="34" charset="0"/>
              <a:buChar char="›"/>
              <a:tabLst>
                <a:tab pos="1543050" algn="l"/>
                <a:tab pos="4114800" algn="l"/>
              </a:tabLst>
            </a:pPr>
            <a:r>
              <a:rPr lang="en-US" sz="1400" dirty="0">
                <a:solidFill>
                  <a:schemeClr val="dk1"/>
                </a:solidFill>
                <a:latin typeface="+mn-lt"/>
                <a:ea typeface="Arial Unicode MS" pitchFamily="34" charset="-128"/>
                <a:cs typeface="Arial Unicode MS" pitchFamily="34" charset="-128"/>
              </a:rPr>
              <a:t>Position: Pattern recognition and Automation Intern</a:t>
            </a:r>
          </a:p>
          <a:p>
            <a:pPr marL="285750" indent="-285750" defTabSz="1028700" eaLnBrk="0" hangingPunct="0">
              <a:buClr>
                <a:schemeClr val="tx1"/>
              </a:buClr>
              <a:buSzPct val="75000"/>
              <a:buFont typeface="Arial" panose="020B0604020202020204" pitchFamily="34" charset="0"/>
              <a:buChar char="›"/>
              <a:tabLst>
                <a:tab pos="1543050" algn="l"/>
                <a:tab pos="4114800" algn="l"/>
              </a:tabLst>
            </a:pPr>
            <a:r>
              <a:rPr lang="en-US" sz="1400" dirty="0">
                <a:solidFill>
                  <a:schemeClr val="dk1"/>
                </a:solidFill>
                <a:latin typeface="+mn-lt"/>
                <a:ea typeface="Arial Unicode MS" pitchFamily="34" charset="-128"/>
                <a:cs typeface="Arial Unicode MS" pitchFamily="34" charset="-128"/>
              </a:rPr>
              <a:t>Date Join: 18</a:t>
            </a:r>
            <a:r>
              <a:rPr lang="en-US" sz="1400" baseline="30000" dirty="0">
                <a:latin typeface="+mn-lt"/>
                <a:ea typeface="Arial Unicode MS" pitchFamily="34" charset="-128"/>
                <a:cs typeface="Arial Unicode MS" pitchFamily="34" charset="-128"/>
              </a:rPr>
              <a:t>th</a:t>
            </a:r>
            <a:r>
              <a:rPr lang="en-US" sz="1400" dirty="0">
                <a:solidFill>
                  <a:schemeClr val="dk1"/>
                </a:solidFill>
                <a:latin typeface="+mn-lt"/>
                <a:ea typeface="Arial Unicode MS" pitchFamily="34" charset="-128"/>
                <a:cs typeface="Arial Unicode MS" pitchFamily="34" charset="-128"/>
              </a:rPr>
              <a:t> May 2022</a:t>
            </a:r>
          </a:p>
          <a:p>
            <a:pPr marL="285750" indent="-285750" defTabSz="1028700" eaLnBrk="0" hangingPunct="0">
              <a:buClr>
                <a:schemeClr val="tx1"/>
              </a:buClr>
              <a:buSzPct val="75000"/>
              <a:buFont typeface="Arial" panose="020B0604020202020204" pitchFamily="34" charset="0"/>
              <a:buChar char="›"/>
              <a:tabLst>
                <a:tab pos="1543050" algn="l"/>
                <a:tab pos="4114800" algn="l"/>
              </a:tabLst>
            </a:pPr>
            <a:r>
              <a:rPr lang="en-US" sz="1400" dirty="0">
                <a:solidFill>
                  <a:schemeClr val="dk1"/>
                </a:solidFill>
                <a:latin typeface="+mn-lt"/>
                <a:ea typeface="Arial Unicode MS" pitchFamily="34" charset="-128"/>
                <a:cs typeface="Arial Unicode MS" pitchFamily="34" charset="-128"/>
              </a:rPr>
              <a:t>Date End: 29</a:t>
            </a:r>
            <a:r>
              <a:rPr lang="en-US" sz="1400" baseline="30000" dirty="0">
                <a:solidFill>
                  <a:schemeClr val="dk1"/>
                </a:solidFill>
                <a:latin typeface="+mn-lt"/>
                <a:ea typeface="Arial Unicode MS" pitchFamily="34" charset="-128"/>
                <a:cs typeface="Arial Unicode MS" pitchFamily="34" charset="-128"/>
              </a:rPr>
              <a:t>th</a:t>
            </a:r>
            <a:r>
              <a:rPr lang="en-US" sz="1400" dirty="0">
                <a:solidFill>
                  <a:schemeClr val="dk1"/>
                </a:solidFill>
                <a:latin typeface="+mn-lt"/>
                <a:ea typeface="Arial Unicode MS" pitchFamily="34" charset="-128"/>
                <a:cs typeface="Arial Unicode MS" pitchFamily="34" charset="-128"/>
              </a:rPr>
              <a:t> July 2022</a:t>
            </a:r>
          </a:p>
        </p:txBody>
      </p:sp>
      <p:sp>
        <p:nvSpPr>
          <p:cNvPr id="12" name="Text Box 8">
            <a:extLst>
              <a:ext uri="{FF2B5EF4-FFF2-40B4-BE49-F238E27FC236}">
                <a16:creationId xmlns:a16="http://schemas.microsoft.com/office/drawing/2014/main" id="{570C2D1B-C03E-40EA-BF1E-FDC6EB4A9EDD}"/>
              </a:ext>
            </a:extLst>
          </p:cNvPr>
          <p:cNvSpPr txBox="1">
            <a:spLocks noChangeArrowheads="1"/>
          </p:cNvSpPr>
          <p:nvPr/>
        </p:nvSpPr>
        <p:spPr bwMode="auto">
          <a:xfrm>
            <a:off x="2711472" y="2069507"/>
            <a:ext cx="6180118" cy="1510286"/>
          </a:xfrm>
          <a:prstGeom prst="rect">
            <a:avLst/>
          </a:prstGeom>
          <a:noFill/>
          <a:ln w="12700" algn="ctr">
            <a:noFill/>
            <a:miter lim="800000"/>
            <a:headEnd/>
            <a:tailEnd/>
          </a:ln>
          <a:effectLst/>
        </p:spPr>
        <p:txBody>
          <a:bodyPr wrap="square" lIns="90000" tIns="46800" rIns="90000" bIns="46800">
            <a:spAutoFit/>
          </a:bodyPr>
          <a:lstStyle/>
          <a:p>
            <a:pPr marL="228600" indent="-228600" algn="l" defTabSz="1028700" eaLnBrk="0" hangingPunct="0">
              <a:buClr>
                <a:schemeClr val="tx1"/>
              </a:buClr>
              <a:tabLst>
                <a:tab pos="914400" algn="l"/>
              </a:tabLst>
            </a:pPr>
            <a:r>
              <a:rPr lang="en-US" sz="1400" b="1" dirty="0">
                <a:solidFill>
                  <a:schemeClr val="dk1"/>
                </a:solidFill>
                <a:latin typeface="+mn-lt"/>
                <a:ea typeface="Arial Unicode MS" pitchFamily="34" charset="-128"/>
                <a:cs typeface="Arial Unicode MS" pitchFamily="34" charset="-128"/>
              </a:rPr>
              <a:t>Roles &amp; Responsibilities:</a:t>
            </a:r>
          </a:p>
          <a:p>
            <a:pPr marL="285750" indent="-285750" defTabSz="1028700" eaLnBrk="0" hangingPunct="0">
              <a:buClr>
                <a:schemeClr val="tx1"/>
              </a:buClr>
              <a:buSzPct val="70000"/>
              <a:buFont typeface="Arial" panose="020B0604020202020204" pitchFamily="34" charset="0"/>
              <a:buChar char="›"/>
              <a:tabLst>
                <a:tab pos="914400" algn="l"/>
              </a:tabLst>
            </a:pPr>
            <a:endParaRPr lang="en-US" sz="800" dirty="0">
              <a:solidFill>
                <a:schemeClr val="dk1"/>
              </a:solidFill>
              <a:latin typeface="+mn-lt"/>
              <a:ea typeface="Arial Unicode MS" pitchFamily="34" charset="-128"/>
              <a:cs typeface="Arial Unicode MS" pitchFamily="34" charset="-128"/>
            </a:endParaRPr>
          </a:p>
          <a:p>
            <a:pPr marL="285750" indent="-285750" defTabSz="1028700" eaLnBrk="0" hangingPunct="0">
              <a:buClr>
                <a:schemeClr val="tx1"/>
              </a:buClr>
              <a:buSzPct val="70000"/>
              <a:buFont typeface="Arial" panose="020B0604020202020204" pitchFamily="34" charset="0"/>
              <a:buChar char="›"/>
              <a:tabLst>
                <a:tab pos="914400" algn="l"/>
              </a:tabLst>
            </a:pPr>
            <a:r>
              <a:rPr lang="en-US" sz="1400" dirty="0">
                <a:solidFill>
                  <a:schemeClr val="dk1"/>
                </a:solidFill>
                <a:latin typeface="+mn-lt"/>
                <a:ea typeface="Arial Unicode MS" pitchFamily="34" charset="-128"/>
                <a:cs typeface="Arial Unicode MS" pitchFamily="34" charset="-128"/>
              </a:rPr>
              <a:t>Extracting unstructured problem sentence from tickets</a:t>
            </a:r>
          </a:p>
          <a:p>
            <a:pPr marL="285750" indent="-285750" defTabSz="1028700" eaLnBrk="0" hangingPunct="0">
              <a:buClr>
                <a:schemeClr val="tx1"/>
              </a:buClr>
              <a:buSzPct val="70000"/>
              <a:buFont typeface="Arial" panose="020B0604020202020204" pitchFamily="34" charset="0"/>
              <a:buChar char="›"/>
              <a:tabLst>
                <a:tab pos="914400" algn="l"/>
              </a:tabLst>
            </a:pPr>
            <a:r>
              <a:rPr lang="en-US" sz="1400" dirty="0">
                <a:solidFill>
                  <a:schemeClr val="dk1"/>
                </a:solidFill>
                <a:latin typeface="+mn-lt"/>
                <a:ea typeface="Arial Unicode MS" pitchFamily="34" charset="-128"/>
                <a:cs typeface="Arial Unicode MS" pitchFamily="34" charset="-128"/>
              </a:rPr>
              <a:t>Symptom Analysis of Incident Tickets using NLP</a:t>
            </a:r>
          </a:p>
          <a:p>
            <a:pPr marL="285750" indent="-285750" defTabSz="1028700" eaLnBrk="0" hangingPunct="0">
              <a:buClr>
                <a:schemeClr val="tx1"/>
              </a:buClr>
              <a:buSzPct val="70000"/>
              <a:buFont typeface="Arial" panose="020B0604020202020204" pitchFamily="34" charset="0"/>
              <a:buChar char="›"/>
              <a:tabLst>
                <a:tab pos="914400" algn="l"/>
              </a:tabLst>
            </a:pPr>
            <a:r>
              <a:rPr lang="en-US" sz="1400" dirty="0">
                <a:solidFill>
                  <a:schemeClr val="dk1"/>
                </a:solidFill>
                <a:latin typeface="+mn-lt"/>
                <a:ea typeface="Arial Unicode MS" pitchFamily="34" charset="-128"/>
                <a:cs typeface="Arial Unicode MS" pitchFamily="34" charset="-128"/>
              </a:rPr>
              <a:t>Building a chatbot framework for the purpose of deploying the NLP model</a:t>
            </a:r>
          </a:p>
          <a:p>
            <a:pPr marL="285750" indent="-285750" defTabSz="1028700" eaLnBrk="0" hangingPunct="0">
              <a:buClr>
                <a:schemeClr val="tx1"/>
              </a:buClr>
              <a:buSzPct val="70000"/>
              <a:buFont typeface="Arial" panose="020B0604020202020204" pitchFamily="34" charset="0"/>
              <a:buChar char="›"/>
              <a:tabLst>
                <a:tab pos="914400" algn="l"/>
              </a:tabLst>
            </a:pPr>
            <a:endParaRPr lang="en-US" sz="1400" dirty="0">
              <a:latin typeface="+mn-lt"/>
              <a:ea typeface="Arial Unicode MS" pitchFamily="34" charset="-128"/>
              <a:cs typeface="Arial Unicode MS" pitchFamily="34" charset="-128"/>
            </a:endParaRPr>
          </a:p>
        </p:txBody>
      </p:sp>
      <p:sp>
        <p:nvSpPr>
          <p:cNvPr id="13" name="Text Box 13">
            <a:extLst>
              <a:ext uri="{FF2B5EF4-FFF2-40B4-BE49-F238E27FC236}">
                <a16:creationId xmlns:a16="http://schemas.microsoft.com/office/drawing/2014/main" id="{8C3A8E66-5818-4A16-A72A-820730AB4609}"/>
              </a:ext>
            </a:extLst>
          </p:cNvPr>
          <p:cNvSpPr txBox="1">
            <a:spLocks noChangeArrowheads="1"/>
          </p:cNvSpPr>
          <p:nvPr/>
        </p:nvSpPr>
        <p:spPr bwMode="auto">
          <a:xfrm>
            <a:off x="2711472" y="3336996"/>
            <a:ext cx="6126183" cy="1294843"/>
          </a:xfrm>
          <a:prstGeom prst="rect">
            <a:avLst/>
          </a:prstGeom>
          <a:solidFill>
            <a:schemeClr val="bg1"/>
          </a:solidFill>
          <a:ln w="12700" algn="ctr">
            <a:noFill/>
            <a:miter lim="800000"/>
            <a:headEnd/>
            <a:tailEnd/>
          </a:ln>
          <a:effectLst/>
        </p:spPr>
        <p:txBody>
          <a:bodyPr wrap="square" lIns="90000" tIns="46800" rIns="90000" bIns="46800">
            <a:spAutoFit/>
          </a:bodyPr>
          <a:lstStyle/>
          <a:p>
            <a:pPr marL="228600" indent="-228600" algn="l" defTabSz="1028700" eaLnBrk="0" hangingPunct="0">
              <a:buClr>
                <a:schemeClr val="tx1"/>
              </a:buClr>
              <a:tabLst>
                <a:tab pos="914400" algn="l"/>
              </a:tabLst>
            </a:pPr>
            <a:r>
              <a:rPr lang="en-US" sz="1400" b="1" dirty="0">
                <a:solidFill>
                  <a:schemeClr val="dk1"/>
                </a:solidFill>
                <a:latin typeface="+mn-lt"/>
                <a:ea typeface="Arial Unicode MS" pitchFamily="34" charset="-128"/>
                <a:cs typeface="Arial Unicode MS" pitchFamily="34" charset="-128"/>
              </a:rPr>
              <a:t>Background:</a:t>
            </a:r>
          </a:p>
          <a:p>
            <a:pPr marL="228600" indent="-228600" algn="l" defTabSz="1028700" eaLnBrk="0" hangingPunct="0">
              <a:buClr>
                <a:schemeClr val="tx1"/>
              </a:buClr>
              <a:tabLst>
                <a:tab pos="914400" algn="l"/>
              </a:tabLst>
            </a:pPr>
            <a:endParaRPr lang="en-US" sz="800" b="1" dirty="0">
              <a:solidFill>
                <a:schemeClr val="dk1"/>
              </a:solidFill>
              <a:latin typeface="+mn-lt"/>
              <a:ea typeface="Arial Unicode MS" pitchFamily="34" charset="-128"/>
              <a:cs typeface="Arial Unicode MS" pitchFamily="34" charset="-128"/>
            </a:endParaRPr>
          </a:p>
          <a:p>
            <a:pPr marL="285750" indent="-285750" defTabSz="1028700" eaLnBrk="0" hangingPunct="0">
              <a:buClr>
                <a:schemeClr val="tx1"/>
              </a:buClr>
              <a:buFont typeface="Arial" panose="020B0604020202020204" pitchFamily="34" charset="0"/>
              <a:buChar char="›"/>
              <a:tabLst>
                <a:tab pos="914400" algn="l"/>
              </a:tabLst>
            </a:pPr>
            <a:r>
              <a:rPr lang="en-US" sz="1400" dirty="0">
                <a:solidFill>
                  <a:schemeClr val="dk1"/>
                </a:solidFill>
                <a:latin typeface="+mn-lt"/>
                <a:ea typeface="Arial Unicode MS" pitchFamily="34" charset="-128"/>
                <a:cs typeface="Arial Unicode MS" pitchFamily="34" charset="-128"/>
              </a:rPr>
              <a:t>MSc in Electrical Engineering with a major in Information technology</a:t>
            </a:r>
          </a:p>
          <a:p>
            <a:pPr marL="285750" indent="-285750" defTabSz="1028700" eaLnBrk="0" hangingPunct="0">
              <a:buClr>
                <a:schemeClr val="tx1"/>
              </a:buClr>
              <a:buFont typeface="Arial" panose="020B0604020202020204" pitchFamily="34" charset="0"/>
              <a:buChar char="›"/>
              <a:tabLst>
                <a:tab pos="914400" algn="l"/>
              </a:tabLst>
            </a:pPr>
            <a:r>
              <a:rPr lang="en-US" sz="1400" dirty="0">
                <a:solidFill>
                  <a:schemeClr val="dk1"/>
                </a:solidFill>
                <a:latin typeface="+mn-lt"/>
                <a:ea typeface="Arial Unicode MS" pitchFamily="34" charset="-128"/>
                <a:cs typeface="Arial Unicode MS" pitchFamily="34" charset="-128"/>
              </a:rPr>
              <a:t>Systems Engineer at Infosys Limited (2019 – 2021)</a:t>
            </a:r>
          </a:p>
          <a:p>
            <a:pPr marL="285750" indent="-285750" defTabSz="1028700" eaLnBrk="0" hangingPunct="0">
              <a:buClr>
                <a:schemeClr val="tx1"/>
              </a:buClr>
              <a:buFont typeface="Arial" panose="020B0604020202020204" pitchFamily="34" charset="0"/>
              <a:buChar char="›"/>
              <a:tabLst>
                <a:tab pos="914400" algn="l"/>
              </a:tabLst>
            </a:pPr>
            <a:r>
              <a:rPr lang="en-US" sz="1400" dirty="0">
                <a:solidFill>
                  <a:schemeClr val="dk1"/>
                </a:solidFill>
                <a:latin typeface="+mn-lt"/>
                <a:ea typeface="Arial Unicode MS" pitchFamily="34" charset="-128"/>
                <a:cs typeface="Arial Unicode MS" pitchFamily="34" charset="-128"/>
              </a:rPr>
              <a:t>Bachelor in Electrical Engineering (2019)</a:t>
            </a:r>
          </a:p>
          <a:p>
            <a:pPr defTabSz="1028700" eaLnBrk="0" hangingPunct="0">
              <a:buClr>
                <a:schemeClr val="tx1"/>
              </a:buClr>
              <a:tabLst>
                <a:tab pos="914400" algn="l"/>
              </a:tabLst>
            </a:pPr>
            <a:r>
              <a:rPr lang="en-US" sz="1400" dirty="0">
                <a:solidFill>
                  <a:schemeClr val="dk1"/>
                </a:solidFill>
                <a:latin typeface="+mn-lt"/>
                <a:ea typeface="Arial Unicode MS" pitchFamily="34" charset="-128"/>
                <a:cs typeface="Arial Unicode MS" pitchFamily="34" charset="-128"/>
              </a:rPr>
              <a:t>Hobbies: cooking, traveling, photography, exploring new technology</a:t>
            </a:r>
          </a:p>
        </p:txBody>
      </p:sp>
      <p:pic>
        <p:nvPicPr>
          <p:cNvPr id="14" name="Picture 13">
            <a:extLst>
              <a:ext uri="{FF2B5EF4-FFF2-40B4-BE49-F238E27FC236}">
                <a16:creationId xmlns:a16="http://schemas.microsoft.com/office/drawing/2014/main" id="{39EDA8BF-FB7F-4ADC-BAC4-98663D5E82F6}"/>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80815" y="1636005"/>
            <a:ext cx="1068637" cy="1557407"/>
          </a:xfrm>
          <a:prstGeom prst="rect">
            <a:avLst/>
          </a:prstGeom>
        </p:spPr>
      </p:pic>
      <p:sp>
        <p:nvSpPr>
          <p:cNvPr id="15" name="Title 14">
            <a:extLst>
              <a:ext uri="{FF2B5EF4-FFF2-40B4-BE49-F238E27FC236}">
                <a16:creationId xmlns:a16="http://schemas.microsoft.com/office/drawing/2014/main" id="{C3D349A3-9B07-4AC3-9072-F04358814214}"/>
              </a:ext>
            </a:extLst>
          </p:cNvPr>
          <p:cNvSpPr>
            <a:spLocks noGrp="1"/>
          </p:cNvSpPr>
          <p:nvPr>
            <p:ph type="title"/>
          </p:nvPr>
        </p:nvSpPr>
        <p:spPr/>
        <p:txBody>
          <a:bodyPr/>
          <a:lstStyle/>
          <a:p>
            <a:r>
              <a:rPr lang="en-SG" dirty="0"/>
              <a:t>My Introduction</a:t>
            </a:r>
          </a:p>
        </p:txBody>
      </p:sp>
      <p:sp>
        <p:nvSpPr>
          <p:cNvPr id="19" name="Slide Number Placeholder 18">
            <a:extLst>
              <a:ext uri="{FF2B5EF4-FFF2-40B4-BE49-F238E27FC236}">
                <a16:creationId xmlns:a16="http://schemas.microsoft.com/office/drawing/2014/main" id="{F2D51A60-482F-42A0-AB8E-48DF7248BD73}"/>
              </a:ext>
            </a:extLst>
          </p:cNvPr>
          <p:cNvSpPr>
            <a:spLocks noGrp="1"/>
          </p:cNvSpPr>
          <p:nvPr>
            <p:ph type="sldNum" sz="quarter" idx="16"/>
          </p:nvPr>
        </p:nvSpPr>
        <p:spPr/>
        <p:txBody>
          <a:bodyPr/>
          <a:lstStyle/>
          <a:p>
            <a:r>
              <a:rPr lang="en-US" dirty="0"/>
              <a:t> </a:t>
            </a:r>
          </a:p>
        </p:txBody>
      </p:sp>
    </p:spTree>
    <p:extLst>
      <p:ext uri="{BB962C8B-B14F-4D97-AF65-F5344CB8AC3E}">
        <p14:creationId xmlns:p14="http://schemas.microsoft.com/office/powerpoint/2010/main" val="30400151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a:extLst>
              <a:ext uri="{FF2B5EF4-FFF2-40B4-BE49-F238E27FC236}">
                <a16:creationId xmlns:a16="http://schemas.microsoft.com/office/drawing/2014/main" id="{CB6059EC-43BD-46BD-BC41-DED27D5E2A30}"/>
              </a:ext>
            </a:extLst>
          </p:cNvPr>
          <p:cNvPicPr>
            <a:picLocks noChangeAspect="1"/>
          </p:cNvPicPr>
          <p:nvPr/>
        </p:nvPicPr>
        <p:blipFill>
          <a:blip r:embed="rId3"/>
          <a:stretch>
            <a:fillRect/>
          </a:stretch>
        </p:blipFill>
        <p:spPr>
          <a:xfrm>
            <a:off x="335891" y="951311"/>
            <a:ext cx="3291632" cy="1034083"/>
          </a:xfrm>
          <a:prstGeom prst="rect">
            <a:avLst/>
          </a:prstGeom>
        </p:spPr>
      </p:pic>
      <p:pic>
        <p:nvPicPr>
          <p:cNvPr id="8" name="Picture 7">
            <a:extLst>
              <a:ext uri="{FF2B5EF4-FFF2-40B4-BE49-F238E27FC236}">
                <a16:creationId xmlns:a16="http://schemas.microsoft.com/office/drawing/2014/main" id="{34B5DC28-4474-415F-9C68-2A036FB2DF0C}"/>
              </a:ext>
            </a:extLst>
          </p:cNvPr>
          <p:cNvPicPr>
            <a:picLocks noChangeAspect="1"/>
          </p:cNvPicPr>
          <p:nvPr/>
        </p:nvPicPr>
        <p:blipFill>
          <a:blip r:embed="rId4"/>
          <a:stretch>
            <a:fillRect/>
          </a:stretch>
        </p:blipFill>
        <p:spPr>
          <a:xfrm>
            <a:off x="2175540" y="1539659"/>
            <a:ext cx="1999232" cy="1402116"/>
          </a:xfrm>
          <a:prstGeom prst="rect">
            <a:avLst/>
          </a:prstGeom>
        </p:spPr>
      </p:pic>
      <p:pic>
        <p:nvPicPr>
          <p:cNvPr id="9" name="Picture 8">
            <a:extLst>
              <a:ext uri="{FF2B5EF4-FFF2-40B4-BE49-F238E27FC236}">
                <a16:creationId xmlns:a16="http://schemas.microsoft.com/office/drawing/2014/main" id="{91B71CA9-5311-4123-AE0F-51F82D153C06}"/>
              </a:ext>
            </a:extLst>
          </p:cNvPr>
          <p:cNvPicPr>
            <a:picLocks noChangeAspect="1"/>
          </p:cNvPicPr>
          <p:nvPr/>
        </p:nvPicPr>
        <p:blipFill>
          <a:blip r:embed="rId5"/>
          <a:stretch>
            <a:fillRect/>
          </a:stretch>
        </p:blipFill>
        <p:spPr>
          <a:xfrm>
            <a:off x="3943517" y="2240716"/>
            <a:ext cx="2095197" cy="1904000"/>
          </a:xfrm>
          <a:prstGeom prst="rect">
            <a:avLst/>
          </a:prstGeom>
        </p:spPr>
      </p:pic>
      <p:cxnSp>
        <p:nvCxnSpPr>
          <p:cNvPr id="10" name="Straight Arrow Connector 9">
            <a:extLst>
              <a:ext uri="{FF2B5EF4-FFF2-40B4-BE49-F238E27FC236}">
                <a16:creationId xmlns:a16="http://schemas.microsoft.com/office/drawing/2014/main" id="{7754EE9B-08D7-45DF-8753-2E84F9354087}"/>
              </a:ext>
            </a:extLst>
          </p:cNvPr>
          <p:cNvCxnSpPr/>
          <p:nvPr/>
        </p:nvCxnSpPr>
        <p:spPr>
          <a:xfrm>
            <a:off x="3694353" y="2240716"/>
            <a:ext cx="234055" cy="227254"/>
          </a:xfrm>
          <a:prstGeom prst="straightConnector1">
            <a:avLst/>
          </a:prstGeom>
          <a:ln w="28575" cap="flat" cmpd="sng" algn="ctr">
            <a:solidFill>
              <a:schemeClr val="accent1"/>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C85D68C9-EABB-45A6-A46B-BAF37B2F576B}"/>
              </a:ext>
            </a:extLst>
          </p:cNvPr>
          <p:cNvCxnSpPr/>
          <p:nvPr/>
        </p:nvCxnSpPr>
        <p:spPr>
          <a:xfrm>
            <a:off x="2017921" y="1462679"/>
            <a:ext cx="234055" cy="227254"/>
          </a:xfrm>
          <a:prstGeom prst="straightConnector1">
            <a:avLst/>
          </a:prstGeom>
          <a:ln w="28575" cap="flat" cmpd="sng" algn="ctr">
            <a:solidFill>
              <a:schemeClr val="accent1"/>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3CB680E1-7011-4BCE-BE2C-8966C3B201A2}"/>
              </a:ext>
            </a:extLst>
          </p:cNvPr>
          <p:cNvSpPr/>
          <p:nvPr/>
        </p:nvSpPr>
        <p:spPr bwMode="auto">
          <a:xfrm>
            <a:off x="3955839" y="2354343"/>
            <a:ext cx="2052983" cy="182566"/>
          </a:xfrm>
          <a:prstGeom prst="rect">
            <a:avLst/>
          </a:prstGeom>
          <a:noFill/>
          <a:ln w="28575">
            <a:solidFill>
              <a:schemeClr val="accent1"/>
            </a:solidFill>
            <a:miter lim="800000"/>
            <a:headEnd/>
            <a:tailEnd/>
          </a:ln>
        </p:spPr>
        <p:txBody>
          <a:bodyPr wrap="square" lIns="72000" tIns="72000" rIns="72000" bIns="72000" rtlCol="0" anchor="ctr"/>
          <a:lstStyle/>
          <a:p>
            <a:pPr algn="ctr" eaLnBrk="0" hangingPunct="0"/>
            <a:endParaRPr lang="en-SG" sz="1600" dirty="0">
              <a:latin typeface="+mn-lt"/>
              <a:ea typeface="Verdana" pitchFamily="34" charset="0"/>
              <a:cs typeface="Verdana" pitchFamily="34" charset="0"/>
            </a:endParaRPr>
          </a:p>
        </p:txBody>
      </p:sp>
      <p:pic>
        <p:nvPicPr>
          <p:cNvPr id="13" name="Picture 12">
            <a:extLst>
              <a:ext uri="{FF2B5EF4-FFF2-40B4-BE49-F238E27FC236}">
                <a16:creationId xmlns:a16="http://schemas.microsoft.com/office/drawing/2014/main" id="{9D3B800F-2888-4C0E-8679-B1E0D7154DEE}"/>
              </a:ext>
            </a:extLst>
          </p:cNvPr>
          <p:cNvPicPr>
            <a:picLocks noChangeAspect="1"/>
          </p:cNvPicPr>
          <p:nvPr/>
        </p:nvPicPr>
        <p:blipFill>
          <a:blip r:embed="rId6"/>
          <a:stretch>
            <a:fillRect/>
          </a:stretch>
        </p:blipFill>
        <p:spPr>
          <a:xfrm>
            <a:off x="5096906" y="1497256"/>
            <a:ext cx="3670546" cy="405381"/>
          </a:xfrm>
          <a:prstGeom prst="rect">
            <a:avLst/>
          </a:prstGeom>
        </p:spPr>
      </p:pic>
      <p:cxnSp>
        <p:nvCxnSpPr>
          <p:cNvPr id="14" name="Straight Arrow Connector 13">
            <a:extLst>
              <a:ext uri="{FF2B5EF4-FFF2-40B4-BE49-F238E27FC236}">
                <a16:creationId xmlns:a16="http://schemas.microsoft.com/office/drawing/2014/main" id="{44D5B043-15D1-4381-A99E-0440D4FA0345}"/>
              </a:ext>
            </a:extLst>
          </p:cNvPr>
          <p:cNvCxnSpPr/>
          <p:nvPr/>
        </p:nvCxnSpPr>
        <p:spPr>
          <a:xfrm flipV="1">
            <a:off x="5650129" y="1902638"/>
            <a:ext cx="573907" cy="451705"/>
          </a:xfrm>
          <a:prstGeom prst="straightConnector1">
            <a:avLst/>
          </a:prstGeom>
          <a:ln w="19050" cap="flat" cmpd="sng" algn="ctr">
            <a:solidFill>
              <a:schemeClr val="accent1"/>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9931A6A2-067F-4D5F-A984-F4A866BA2ABA}"/>
              </a:ext>
            </a:extLst>
          </p:cNvPr>
          <p:cNvCxnSpPr/>
          <p:nvPr/>
        </p:nvCxnSpPr>
        <p:spPr>
          <a:xfrm>
            <a:off x="7300112" y="1902638"/>
            <a:ext cx="0" cy="910027"/>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6" name="Graphic 15" descr="Question mark">
            <a:extLst>
              <a:ext uri="{FF2B5EF4-FFF2-40B4-BE49-F238E27FC236}">
                <a16:creationId xmlns:a16="http://schemas.microsoft.com/office/drawing/2014/main" id="{8A84FE50-6C5C-492B-A375-26FB9E76D89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862398" y="2812666"/>
            <a:ext cx="875427" cy="875427"/>
          </a:xfrm>
          <a:prstGeom prst="rect">
            <a:avLst/>
          </a:prstGeom>
        </p:spPr>
      </p:pic>
      <p:sp>
        <p:nvSpPr>
          <p:cNvPr id="17" name="TextBox 16">
            <a:extLst>
              <a:ext uri="{FF2B5EF4-FFF2-40B4-BE49-F238E27FC236}">
                <a16:creationId xmlns:a16="http://schemas.microsoft.com/office/drawing/2014/main" id="{89226174-CF26-4C00-94DD-ED2541367C04}"/>
              </a:ext>
            </a:extLst>
          </p:cNvPr>
          <p:cNvSpPr txBox="1"/>
          <p:nvPr/>
        </p:nvSpPr>
        <p:spPr bwMode="auto">
          <a:xfrm>
            <a:off x="6449953" y="3671696"/>
            <a:ext cx="2441637" cy="769441"/>
          </a:xfrm>
          <a:prstGeom prst="rect">
            <a:avLst/>
          </a:prstGeom>
          <a:noFill/>
          <a:ln w="9525">
            <a:noFill/>
            <a:miter lim="800000"/>
            <a:headEnd/>
            <a:tailEnd/>
          </a:ln>
          <a:effectLst/>
        </p:spPr>
        <p:txBody>
          <a:bodyPr wrap="square" lIns="0" tIns="0" rIns="0" bIns="0" rtlCol="0" anchor="ctr" anchorCtr="0">
            <a:spAutoFit/>
          </a:bodyPr>
          <a:lstStyle/>
          <a:p>
            <a:pPr marR="0" defTabSz="914400" eaLnBrk="0" fontAlgn="auto" latinLnBrk="0" hangingPunct="0">
              <a:spcBef>
                <a:spcPts val="0"/>
              </a:spcBef>
              <a:spcAft>
                <a:spcPts val="300"/>
              </a:spcAft>
              <a:buClr>
                <a:schemeClr val="accent1"/>
              </a:buClr>
              <a:buSzTx/>
              <a:tabLst/>
            </a:pPr>
            <a:r>
              <a:rPr lang="en-SG" sz="1000" kern="0" dirty="0">
                <a:solidFill>
                  <a:srgbClr val="769F3B"/>
                </a:solidFill>
                <a:latin typeface="Arial" panose="020B0604020202020204" pitchFamily="34" charset="0"/>
                <a:ea typeface="Verdana" pitchFamily="34" charset="0"/>
                <a:cs typeface="Arial" panose="020B0604020202020204" pitchFamily="34" charset="0"/>
              </a:rPr>
              <a:t>What is the symptom that the problem description is indicating and is there a way to automate the process of identifying the symptom and use it to resolve it automatically?</a:t>
            </a:r>
          </a:p>
        </p:txBody>
      </p:sp>
      <p:pic>
        <p:nvPicPr>
          <p:cNvPr id="18" name="Graphic 17" descr="Bullseye">
            <a:extLst>
              <a:ext uri="{FF2B5EF4-FFF2-40B4-BE49-F238E27FC236}">
                <a16:creationId xmlns:a16="http://schemas.microsoft.com/office/drawing/2014/main" id="{C80B000A-A56B-4CC6-A0DF-63298503A8DA}"/>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155551" y="3639932"/>
            <a:ext cx="264654" cy="264654"/>
          </a:xfrm>
          <a:prstGeom prst="rect">
            <a:avLst/>
          </a:prstGeom>
        </p:spPr>
      </p:pic>
      <p:cxnSp>
        <p:nvCxnSpPr>
          <p:cNvPr id="19" name="Straight Connector 18">
            <a:extLst>
              <a:ext uri="{FF2B5EF4-FFF2-40B4-BE49-F238E27FC236}">
                <a16:creationId xmlns:a16="http://schemas.microsoft.com/office/drawing/2014/main" id="{8B6E3437-688C-41B8-872C-BC3AFFA1D22C}"/>
              </a:ext>
            </a:extLst>
          </p:cNvPr>
          <p:cNvCxnSpPr/>
          <p:nvPr/>
        </p:nvCxnSpPr>
        <p:spPr>
          <a:xfrm>
            <a:off x="6425578" y="3639932"/>
            <a:ext cx="0" cy="827269"/>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C3FCEAB0-9CDB-4A25-B0ED-C2C3870E3135}"/>
              </a:ext>
            </a:extLst>
          </p:cNvPr>
          <p:cNvSpPr/>
          <p:nvPr/>
        </p:nvSpPr>
        <p:spPr>
          <a:xfrm>
            <a:off x="250826" y="2595788"/>
            <a:ext cx="1539797" cy="707182"/>
          </a:xfrm>
          <a:prstGeom prst="rect">
            <a:avLst/>
          </a:prstGeom>
        </p:spPr>
        <p:txBody>
          <a:bodyPr wrap="square">
            <a:spAutoFit/>
          </a:bodyPr>
          <a:lstStyle/>
          <a:p>
            <a:r>
              <a:rPr lang="en-SG" sz="1050" b="1" dirty="0">
                <a:solidFill>
                  <a:schemeClr val="dk1"/>
                </a:solidFill>
              </a:rPr>
              <a:t>Proactive</a:t>
            </a:r>
            <a:r>
              <a:rPr lang="en-SG" sz="1050" dirty="0">
                <a:solidFill>
                  <a:schemeClr val="dk1"/>
                </a:solidFill>
              </a:rPr>
              <a:t> – </a:t>
            </a:r>
            <a:r>
              <a:rPr lang="en-SG" sz="1050" b="1" dirty="0">
                <a:solidFill>
                  <a:schemeClr val="dk1"/>
                </a:solidFill>
              </a:rPr>
              <a:t>early</a:t>
            </a:r>
            <a:r>
              <a:rPr lang="en-SG" sz="1050" dirty="0">
                <a:solidFill>
                  <a:schemeClr val="dk1"/>
                </a:solidFill>
              </a:rPr>
              <a:t> detection of </a:t>
            </a:r>
            <a:r>
              <a:rPr lang="en-SG" sz="1050" b="1" dirty="0">
                <a:solidFill>
                  <a:schemeClr val="dk1"/>
                </a:solidFill>
              </a:rPr>
              <a:t>symptom</a:t>
            </a:r>
            <a:r>
              <a:rPr lang="en-SG" sz="1050" dirty="0">
                <a:solidFill>
                  <a:schemeClr val="dk1"/>
                </a:solidFill>
              </a:rPr>
              <a:t> without intervention of </a:t>
            </a:r>
            <a:r>
              <a:rPr lang="en-SG" sz="1050" b="1" dirty="0">
                <a:solidFill>
                  <a:schemeClr val="dk1"/>
                </a:solidFill>
              </a:rPr>
              <a:t>BOC</a:t>
            </a:r>
            <a:r>
              <a:rPr lang="en-SG" sz="1050" dirty="0">
                <a:solidFill>
                  <a:schemeClr val="dk1"/>
                </a:solidFill>
              </a:rPr>
              <a:t> </a:t>
            </a:r>
            <a:r>
              <a:rPr lang="en-SG" sz="1050" b="1" dirty="0">
                <a:solidFill>
                  <a:schemeClr val="dk1"/>
                </a:solidFill>
              </a:rPr>
              <a:t>team</a:t>
            </a:r>
          </a:p>
        </p:txBody>
      </p:sp>
      <p:pic>
        <p:nvPicPr>
          <p:cNvPr id="21" name="Picture 20">
            <a:extLst>
              <a:ext uri="{FF2B5EF4-FFF2-40B4-BE49-F238E27FC236}">
                <a16:creationId xmlns:a16="http://schemas.microsoft.com/office/drawing/2014/main" id="{19FFFA87-6981-4171-BE7B-3FECC5535A74}"/>
              </a:ext>
            </a:extLst>
          </p:cNvPr>
          <p:cNvPicPr>
            <a:picLocks noChangeAspect="1"/>
          </p:cNvPicPr>
          <p:nvPr/>
        </p:nvPicPr>
        <p:blipFill rotWithShape="1">
          <a:blip r:embed="rId11"/>
          <a:srcRect/>
          <a:stretch/>
        </p:blipFill>
        <p:spPr>
          <a:xfrm>
            <a:off x="403587" y="3357033"/>
            <a:ext cx="3058536" cy="1429283"/>
          </a:xfrm>
          <a:prstGeom prst="rect">
            <a:avLst/>
          </a:prstGeom>
          <a:ln w="9525" cap="flat" cmpd="sng" algn="ctr">
            <a:solidFill>
              <a:srgbClr val="5EA290"/>
            </a:solidFill>
            <a:prstDash val="solid"/>
            <a:round/>
            <a:headEnd type="none" w="med" len="med"/>
            <a:tailEnd type="none" w="med" len="med"/>
          </a:ln>
        </p:spPr>
      </p:pic>
      <p:sp>
        <p:nvSpPr>
          <p:cNvPr id="22" name="TextBox 21">
            <a:extLst>
              <a:ext uri="{FF2B5EF4-FFF2-40B4-BE49-F238E27FC236}">
                <a16:creationId xmlns:a16="http://schemas.microsoft.com/office/drawing/2014/main" id="{43679FED-3ED7-4B5E-911F-61A023F29F19}"/>
              </a:ext>
            </a:extLst>
          </p:cNvPr>
          <p:cNvSpPr txBox="1"/>
          <p:nvPr/>
        </p:nvSpPr>
        <p:spPr bwMode="auto">
          <a:xfrm>
            <a:off x="3886706" y="4308180"/>
            <a:ext cx="2431294" cy="412522"/>
          </a:xfrm>
          <a:prstGeom prst="rect">
            <a:avLst/>
          </a:prstGeom>
          <a:noFill/>
          <a:ln w="9525">
            <a:noFill/>
            <a:miter lim="800000"/>
            <a:headEnd/>
            <a:tailEnd/>
          </a:ln>
          <a:effectLst/>
        </p:spPr>
        <p:txBody>
          <a:bodyPr wrap="square" lIns="0" tIns="0" rIns="0" bIns="0" rtlCol="0" anchor="ctr" anchorCtr="0">
            <a:spAutoFit/>
          </a:bodyPr>
          <a:lstStyle/>
          <a:p>
            <a:pPr marR="0" defTabSz="914400" eaLnBrk="0" fontAlgn="auto" latinLnBrk="0" hangingPunct="0">
              <a:spcBef>
                <a:spcPts val="0"/>
              </a:spcBef>
              <a:spcAft>
                <a:spcPts val="300"/>
              </a:spcAft>
              <a:buClr>
                <a:schemeClr val="accent1"/>
              </a:buClr>
              <a:buSzTx/>
              <a:tabLst/>
            </a:pPr>
            <a:r>
              <a:rPr lang="en-SG" sz="1400" b="1" u="sng" kern="0" dirty="0">
                <a:solidFill>
                  <a:schemeClr val="dk1"/>
                </a:solidFill>
                <a:latin typeface="Arial" panose="020B0604020202020204" pitchFamily="34" charset="0"/>
                <a:ea typeface="Verdana" pitchFamily="34" charset="0"/>
                <a:cs typeface="Arial" panose="020B0604020202020204" pitchFamily="34" charset="0"/>
              </a:rPr>
              <a:t>Symptoms generalized by the BOC teams</a:t>
            </a:r>
          </a:p>
        </p:txBody>
      </p:sp>
      <p:cxnSp>
        <p:nvCxnSpPr>
          <p:cNvPr id="23" name="Connector: Elbow 22">
            <a:extLst>
              <a:ext uri="{FF2B5EF4-FFF2-40B4-BE49-F238E27FC236}">
                <a16:creationId xmlns:a16="http://schemas.microsoft.com/office/drawing/2014/main" id="{9652A600-4E81-4FAB-B170-EC4C48693323}"/>
              </a:ext>
            </a:extLst>
          </p:cNvPr>
          <p:cNvCxnSpPr>
            <a:cxnSpLocks/>
            <a:stCxn id="21" idx="3"/>
            <a:endCxn id="22" idx="1"/>
          </p:cNvCxnSpPr>
          <p:nvPr/>
        </p:nvCxnSpPr>
        <p:spPr>
          <a:xfrm>
            <a:off x="3462123" y="4071675"/>
            <a:ext cx="424583" cy="442766"/>
          </a:xfrm>
          <a:prstGeom prst="bentConnector3">
            <a:avLst>
              <a:gd name="adj1" fmla="val 50000"/>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4" name="Title 23">
            <a:extLst>
              <a:ext uri="{FF2B5EF4-FFF2-40B4-BE49-F238E27FC236}">
                <a16:creationId xmlns:a16="http://schemas.microsoft.com/office/drawing/2014/main" id="{DEBB059B-83E5-45DA-A7E6-700F43A181A8}"/>
              </a:ext>
            </a:extLst>
          </p:cNvPr>
          <p:cNvSpPr>
            <a:spLocks noGrp="1"/>
          </p:cNvSpPr>
          <p:nvPr>
            <p:ph type="title"/>
          </p:nvPr>
        </p:nvSpPr>
        <p:spPr/>
        <p:txBody>
          <a:bodyPr/>
          <a:lstStyle/>
          <a:p>
            <a:r>
              <a:rPr lang="en-GB" dirty="0"/>
              <a:t>Background of the Problem(Proactive)</a:t>
            </a:r>
            <a:endParaRPr lang="en-SG" dirty="0"/>
          </a:p>
        </p:txBody>
      </p:sp>
      <p:sp>
        <p:nvSpPr>
          <p:cNvPr id="28" name="Slide Number Placeholder 27">
            <a:extLst>
              <a:ext uri="{FF2B5EF4-FFF2-40B4-BE49-F238E27FC236}">
                <a16:creationId xmlns:a16="http://schemas.microsoft.com/office/drawing/2014/main" id="{113BE474-3913-445D-A8A3-34672E02FC6E}"/>
              </a:ext>
            </a:extLst>
          </p:cNvPr>
          <p:cNvSpPr>
            <a:spLocks noGrp="1"/>
          </p:cNvSpPr>
          <p:nvPr>
            <p:ph type="sldNum" sz="quarter" idx="16"/>
          </p:nvPr>
        </p:nvSpPr>
        <p:spPr/>
        <p:txBody>
          <a:bodyPr/>
          <a:lstStyle/>
          <a:p>
            <a:r>
              <a:rPr lang="en-US" dirty="0"/>
              <a:t> </a:t>
            </a:r>
          </a:p>
        </p:txBody>
      </p:sp>
    </p:spTree>
    <p:extLst>
      <p:ext uri="{BB962C8B-B14F-4D97-AF65-F5344CB8AC3E}">
        <p14:creationId xmlns:p14="http://schemas.microsoft.com/office/powerpoint/2010/main" val="15436279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a:extLst>
              <a:ext uri="{FF2B5EF4-FFF2-40B4-BE49-F238E27FC236}">
                <a16:creationId xmlns:a16="http://schemas.microsoft.com/office/drawing/2014/main" id="{A3B27578-43A0-45DB-A66C-A48791C1B32A}"/>
              </a:ext>
            </a:extLst>
          </p:cNvPr>
          <p:cNvGraphicFramePr>
            <a:graphicFrameLocks/>
          </p:cNvGraphicFramePr>
          <p:nvPr>
            <p:extLst>
              <p:ext uri="{D42A27DB-BD31-4B8C-83A1-F6EECF244321}">
                <p14:modId xmlns:p14="http://schemas.microsoft.com/office/powerpoint/2010/main" val="2933887009"/>
              </p:ext>
            </p:extLst>
          </p:nvPr>
        </p:nvGraphicFramePr>
        <p:xfrm>
          <a:off x="237976" y="-111522"/>
          <a:ext cx="8642350" cy="3835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Picture 7">
            <a:extLst>
              <a:ext uri="{FF2B5EF4-FFF2-40B4-BE49-F238E27FC236}">
                <a16:creationId xmlns:a16="http://schemas.microsoft.com/office/drawing/2014/main" id="{E8E212F6-76B9-4A01-AB66-19388D796999}"/>
              </a:ext>
            </a:extLst>
          </p:cNvPr>
          <p:cNvPicPr>
            <a:picLocks noChangeAspect="1"/>
          </p:cNvPicPr>
          <p:nvPr/>
        </p:nvPicPr>
        <p:blipFill rotWithShape="1">
          <a:blip r:embed="rId8"/>
          <a:srcRect r="14444"/>
          <a:stretch/>
        </p:blipFill>
        <p:spPr>
          <a:xfrm>
            <a:off x="2483769" y="2584339"/>
            <a:ext cx="1440160" cy="1657950"/>
          </a:xfrm>
          <a:prstGeom prst="rect">
            <a:avLst/>
          </a:prstGeom>
        </p:spPr>
      </p:pic>
      <p:pic>
        <p:nvPicPr>
          <p:cNvPr id="9" name="Picture 8">
            <a:extLst>
              <a:ext uri="{FF2B5EF4-FFF2-40B4-BE49-F238E27FC236}">
                <a16:creationId xmlns:a16="http://schemas.microsoft.com/office/drawing/2014/main" id="{39413B21-1DF5-45CE-AA57-F742FD5E9E7C}"/>
              </a:ext>
            </a:extLst>
          </p:cNvPr>
          <p:cNvPicPr>
            <a:picLocks noChangeAspect="1"/>
          </p:cNvPicPr>
          <p:nvPr/>
        </p:nvPicPr>
        <p:blipFill rotWithShape="1">
          <a:blip r:embed="rId9"/>
          <a:srcRect b="20000"/>
          <a:stretch/>
        </p:blipFill>
        <p:spPr>
          <a:xfrm>
            <a:off x="250826" y="4292694"/>
            <a:ext cx="8640764" cy="361351"/>
          </a:xfrm>
          <a:prstGeom prst="rect">
            <a:avLst/>
          </a:prstGeom>
        </p:spPr>
      </p:pic>
      <p:cxnSp>
        <p:nvCxnSpPr>
          <p:cNvPr id="10" name="Straight Arrow Connector 9">
            <a:extLst>
              <a:ext uri="{FF2B5EF4-FFF2-40B4-BE49-F238E27FC236}">
                <a16:creationId xmlns:a16="http://schemas.microsoft.com/office/drawing/2014/main" id="{A95EECE8-301F-4B80-B2AE-DEF324D76ABF}"/>
              </a:ext>
            </a:extLst>
          </p:cNvPr>
          <p:cNvCxnSpPr>
            <a:cxnSpLocks/>
          </p:cNvCxnSpPr>
          <p:nvPr/>
        </p:nvCxnSpPr>
        <p:spPr>
          <a:xfrm>
            <a:off x="900182" y="2571750"/>
            <a:ext cx="0" cy="1588674"/>
          </a:xfrm>
          <a:prstGeom prst="straightConnector1">
            <a:avLst/>
          </a:prstGeom>
          <a:ln w="38100">
            <a:solidFill>
              <a:schemeClr val="accent5">
                <a:lumMod val="100000"/>
              </a:schemeClr>
            </a:solidFill>
            <a:tailEnd type="triangle"/>
          </a:ln>
        </p:spPr>
        <p:style>
          <a:lnRef idx="1">
            <a:schemeClr val="accent5"/>
          </a:lnRef>
          <a:fillRef idx="0">
            <a:schemeClr val="accent5"/>
          </a:fillRef>
          <a:effectRef idx="0">
            <a:schemeClr val="accent5"/>
          </a:effectRef>
          <a:fontRef idx="minor">
            <a:schemeClr val="tx1"/>
          </a:fontRef>
        </p:style>
      </p:cxnSp>
      <p:sp>
        <p:nvSpPr>
          <p:cNvPr id="11" name="Title 10">
            <a:extLst>
              <a:ext uri="{FF2B5EF4-FFF2-40B4-BE49-F238E27FC236}">
                <a16:creationId xmlns:a16="http://schemas.microsoft.com/office/drawing/2014/main" id="{78676C13-E72C-4BE1-9FB1-251ADEA66FC9}"/>
              </a:ext>
            </a:extLst>
          </p:cNvPr>
          <p:cNvSpPr>
            <a:spLocks noGrp="1"/>
          </p:cNvSpPr>
          <p:nvPr>
            <p:ph type="title"/>
          </p:nvPr>
        </p:nvSpPr>
        <p:spPr/>
        <p:txBody>
          <a:bodyPr/>
          <a:lstStyle/>
          <a:p>
            <a:r>
              <a:rPr lang="en-SG" dirty="0"/>
              <a:t>Data Processing Steps</a:t>
            </a:r>
          </a:p>
        </p:txBody>
      </p:sp>
      <p:sp>
        <p:nvSpPr>
          <p:cNvPr id="15" name="Slide Number Placeholder 14">
            <a:extLst>
              <a:ext uri="{FF2B5EF4-FFF2-40B4-BE49-F238E27FC236}">
                <a16:creationId xmlns:a16="http://schemas.microsoft.com/office/drawing/2014/main" id="{8C4D6A32-E28C-4212-BF98-C64D22170F02}"/>
              </a:ext>
            </a:extLst>
          </p:cNvPr>
          <p:cNvSpPr>
            <a:spLocks noGrp="1"/>
          </p:cNvSpPr>
          <p:nvPr>
            <p:ph type="sldNum" sz="quarter" idx="16"/>
          </p:nvPr>
        </p:nvSpPr>
        <p:spPr/>
        <p:txBody>
          <a:bodyPr/>
          <a:lstStyle/>
          <a:p>
            <a:r>
              <a:rPr lang="en-US" dirty="0"/>
              <a:t> </a:t>
            </a:r>
          </a:p>
        </p:txBody>
      </p:sp>
    </p:spTree>
    <p:extLst>
      <p:ext uri="{BB962C8B-B14F-4D97-AF65-F5344CB8AC3E}">
        <p14:creationId xmlns:p14="http://schemas.microsoft.com/office/powerpoint/2010/main" val="2202090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4">
            <a:extLst>
              <a:ext uri="{FF2B5EF4-FFF2-40B4-BE49-F238E27FC236}">
                <a16:creationId xmlns:a16="http://schemas.microsoft.com/office/drawing/2014/main" id="{FCE25093-5545-4260-8A09-AA8C1F01CE54}"/>
              </a:ext>
            </a:extLst>
          </p:cNvPr>
          <p:cNvSpPr txBox="1">
            <a:spLocks/>
          </p:cNvSpPr>
          <p:nvPr/>
        </p:nvSpPr>
        <p:spPr>
          <a:xfrm>
            <a:off x="250826" y="951311"/>
            <a:ext cx="8640764" cy="3835005"/>
          </a:xfrm>
          <a:prstGeom prst="rect">
            <a:avLst/>
          </a:prstGeom>
        </p:spPr>
        <p:txBody>
          <a:bodyPr vert="horz" lIns="0" tIns="0" rIns="0" bIns="0" rtlCol="0">
            <a:noAutofit/>
          </a:bodyPr>
          <a:lstStyle>
            <a:lvl1pPr marL="135000" indent="-135000" algn="l" defTabSz="432000" rtl="0" eaLnBrk="1" fontAlgn="base" hangingPunct="1">
              <a:spcBef>
                <a:spcPts val="0"/>
              </a:spcBef>
              <a:spcAft>
                <a:spcPts val="0"/>
              </a:spcAft>
              <a:buClr>
                <a:schemeClr val="accent1"/>
              </a:buClr>
              <a:buSzPct val="100000"/>
              <a:buFont typeface="Arial" panose="020B0604020202020204" pitchFamily="34" charset="0"/>
              <a:buChar char="›"/>
              <a:defRPr sz="1500" baseline="0">
                <a:solidFill>
                  <a:schemeClr val="tx1"/>
                </a:solidFill>
                <a:latin typeface="+mn-lt"/>
                <a:ea typeface="+mn-ea"/>
                <a:cs typeface="+mn-cs"/>
              </a:defRPr>
            </a:lvl1pPr>
            <a:lvl2pPr marL="337500" indent="-202500" algn="l" defTabSz="432000" rtl="0" eaLnBrk="1" fontAlgn="base" hangingPunct="1">
              <a:spcBef>
                <a:spcPts val="0"/>
              </a:spcBef>
              <a:spcAft>
                <a:spcPts val="0"/>
              </a:spcAft>
              <a:buClr>
                <a:schemeClr val="accent1"/>
              </a:buClr>
              <a:buSzPct val="100000"/>
              <a:buFont typeface="Verdana" panose="020B0604030504040204" pitchFamily="34" charset="0"/>
              <a:buChar char="–"/>
              <a:defRPr sz="1500">
                <a:solidFill>
                  <a:schemeClr val="tx1"/>
                </a:solidFill>
                <a:latin typeface="+mn-lt"/>
                <a:ea typeface="+mn-ea"/>
                <a:cs typeface="+mn-cs"/>
              </a:defRPr>
            </a:lvl2pPr>
            <a:lvl3pPr marL="472500" indent="-135000" algn="l" defTabSz="432000" rtl="0" eaLnBrk="1" fontAlgn="base" hangingPunct="1">
              <a:spcBef>
                <a:spcPts val="0"/>
              </a:spcBef>
              <a:spcAft>
                <a:spcPts val="0"/>
              </a:spcAft>
              <a:buClr>
                <a:schemeClr val="accent1"/>
              </a:buClr>
              <a:buSzPct val="100000"/>
              <a:buFont typeface="Arial" panose="020B0604020202020204" pitchFamily="34" charset="0"/>
              <a:buChar char="–"/>
              <a:defRPr sz="1350" baseline="0">
                <a:solidFill>
                  <a:schemeClr val="tx1"/>
                </a:solidFill>
                <a:latin typeface="+mn-lt"/>
                <a:ea typeface="+mn-ea"/>
                <a:cs typeface="+mn-cs"/>
              </a:defRPr>
            </a:lvl3pPr>
            <a:lvl4pPr marL="602100" indent="-129600" algn="l" defTabSz="432000" rtl="0" eaLnBrk="1" fontAlgn="base" hangingPunct="1">
              <a:spcBef>
                <a:spcPts val="0"/>
              </a:spcBef>
              <a:spcAft>
                <a:spcPts val="0"/>
              </a:spcAft>
              <a:buClr>
                <a:schemeClr val="accent1"/>
              </a:buClr>
              <a:buSzPct val="100000"/>
              <a:buFont typeface="Arial" panose="020B0604020202020204" pitchFamily="34" charset="0"/>
              <a:buChar char="–"/>
              <a:defRPr sz="1200" baseline="0">
                <a:solidFill>
                  <a:schemeClr val="tx1"/>
                </a:solidFill>
                <a:latin typeface="+mn-lt"/>
                <a:ea typeface="+mn-ea"/>
                <a:cs typeface="+mn-cs"/>
              </a:defRPr>
            </a:lvl4pPr>
            <a:lvl5pPr marL="737100" indent="-135000" algn="l" defTabSz="432000" rtl="0" eaLnBrk="1" fontAlgn="base" hangingPunct="1">
              <a:spcBef>
                <a:spcPts val="0"/>
              </a:spcBef>
              <a:spcAft>
                <a:spcPts val="0"/>
              </a:spcAft>
              <a:buClr>
                <a:schemeClr val="accent1"/>
              </a:buClr>
              <a:buSzPct val="100000"/>
              <a:buFont typeface="Arial" panose="020B0604020202020204" pitchFamily="34" charset="0"/>
              <a:buChar char="–"/>
              <a:defRPr sz="1050" baseline="0">
                <a:solidFill>
                  <a:schemeClr val="tx1"/>
                </a:solidFill>
                <a:latin typeface="+mn-lt"/>
                <a:ea typeface="+mn-ea"/>
                <a:cs typeface="+mn-cs"/>
              </a:defRPr>
            </a:lvl5pPr>
            <a:lvl6pPr marL="737100" indent="-135000" algn="l" defTabSz="432000" rtl="0" eaLnBrk="1" fontAlgn="base" hangingPunct="1">
              <a:spcBef>
                <a:spcPts val="0"/>
              </a:spcBef>
              <a:spcAft>
                <a:spcPts val="0"/>
              </a:spcAft>
              <a:buClr>
                <a:schemeClr val="accent1"/>
              </a:buClr>
              <a:buFont typeface="Arial" panose="020B0604020202020204" pitchFamily="34" charset="0"/>
              <a:buChar char="–"/>
              <a:defRPr sz="1050" baseline="0">
                <a:solidFill>
                  <a:schemeClr val="tx1"/>
                </a:solidFill>
                <a:latin typeface="+mn-lt"/>
                <a:cs typeface="+mn-cs"/>
              </a:defRPr>
            </a:lvl6pPr>
            <a:lvl7pPr marL="737100" indent="-135000" algn="l" defTabSz="432000" rtl="0" eaLnBrk="1" fontAlgn="base" hangingPunct="1">
              <a:spcBef>
                <a:spcPts val="0"/>
              </a:spcBef>
              <a:spcAft>
                <a:spcPct val="0"/>
              </a:spcAft>
              <a:buClr>
                <a:schemeClr val="accent1"/>
              </a:buClr>
              <a:buFont typeface="Arial" panose="020B0604020202020204" pitchFamily="34" charset="0"/>
              <a:buChar char="–"/>
              <a:defRPr sz="1050">
                <a:solidFill>
                  <a:schemeClr val="tx1"/>
                </a:solidFill>
                <a:latin typeface="+mn-lt"/>
                <a:cs typeface="+mn-cs"/>
              </a:defRPr>
            </a:lvl7pPr>
            <a:lvl8pPr marL="737100" indent="-135000" algn="l" defTabSz="432000" rtl="0" eaLnBrk="1" fontAlgn="base" hangingPunct="1">
              <a:spcBef>
                <a:spcPts val="0"/>
              </a:spcBef>
              <a:spcAft>
                <a:spcPct val="0"/>
              </a:spcAft>
              <a:buClr>
                <a:schemeClr val="accent1"/>
              </a:buClr>
              <a:buFont typeface="Arial" panose="020B0604020202020204" pitchFamily="34" charset="0"/>
              <a:buChar char="–"/>
              <a:defRPr sz="1050">
                <a:solidFill>
                  <a:schemeClr val="tx1"/>
                </a:solidFill>
                <a:latin typeface="+mn-lt"/>
                <a:cs typeface="+mn-cs"/>
              </a:defRPr>
            </a:lvl8pPr>
            <a:lvl9pPr marL="737100" indent="-135000" algn="l" defTabSz="432000" rtl="0" eaLnBrk="1" fontAlgn="base" hangingPunct="1">
              <a:spcBef>
                <a:spcPts val="0"/>
              </a:spcBef>
              <a:spcAft>
                <a:spcPct val="0"/>
              </a:spcAft>
              <a:buClr>
                <a:schemeClr val="accent1"/>
              </a:buClr>
              <a:buFont typeface="Arial" panose="020B0604020202020204" pitchFamily="34" charset="0"/>
              <a:buChar char="–"/>
              <a:defRPr sz="1050">
                <a:solidFill>
                  <a:schemeClr val="tx1"/>
                </a:solidFill>
                <a:latin typeface="+mn-lt"/>
                <a:cs typeface="+mn-cs"/>
              </a:defRPr>
            </a:lvl9pPr>
          </a:lstStyle>
          <a:p>
            <a:r>
              <a:rPr lang="en-SG" sz="1400" kern="0" dirty="0">
                <a:solidFill>
                  <a:schemeClr val="dk1"/>
                </a:solidFill>
              </a:rPr>
              <a:t>Algorithm which can </a:t>
            </a:r>
            <a:r>
              <a:rPr lang="en-SG" sz="1400" b="1" kern="0" dirty="0">
                <a:solidFill>
                  <a:schemeClr val="dk1"/>
                </a:solidFill>
              </a:rPr>
              <a:t>learn</a:t>
            </a:r>
            <a:r>
              <a:rPr lang="en-SG" sz="1400" kern="0" dirty="0">
                <a:solidFill>
                  <a:schemeClr val="dk1"/>
                </a:solidFill>
              </a:rPr>
              <a:t> or </a:t>
            </a:r>
            <a:r>
              <a:rPr lang="en-SG" sz="1400" b="1" kern="0" dirty="0">
                <a:solidFill>
                  <a:schemeClr val="dk1"/>
                </a:solidFill>
              </a:rPr>
              <a:t>adapt</a:t>
            </a:r>
            <a:r>
              <a:rPr lang="en-SG" sz="1400" kern="0" dirty="0">
                <a:solidFill>
                  <a:schemeClr val="dk1"/>
                </a:solidFill>
              </a:rPr>
              <a:t> something without following any </a:t>
            </a:r>
            <a:r>
              <a:rPr lang="en-SG" sz="1400" b="1" kern="0" dirty="0">
                <a:solidFill>
                  <a:schemeClr val="dk1"/>
                </a:solidFill>
              </a:rPr>
              <a:t>explicit</a:t>
            </a:r>
            <a:r>
              <a:rPr lang="en-SG" sz="1400" kern="0" dirty="0">
                <a:solidFill>
                  <a:schemeClr val="dk1"/>
                </a:solidFill>
              </a:rPr>
              <a:t> </a:t>
            </a:r>
            <a:r>
              <a:rPr lang="en-SG" sz="1400" b="1" kern="0" dirty="0">
                <a:solidFill>
                  <a:schemeClr val="dk1"/>
                </a:solidFill>
              </a:rPr>
              <a:t>instructions</a:t>
            </a:r>
            <a:r>
              <a:rPr lang="en-SG" sz="1400" kern="0" dirty="0">
                <a:solidFill>
                  <a:schemeClr val="dk1"/>
                </a:solidFill>
              </a:rPr>
              <a:t> and draw </a:t>
            </a:r>
            <a:r>
              <a:rPr lang="en-SG" sz="1400" b="1" kern="0" dirty="0">
                <a:solidFill>
                  <a:schemeClr val="dk1"/>
                </a:solidFill>
              </a:rPr>
              <a:t>inferences</a:t>
            </a:r>
            <a:r>
              <a:rPr lang="en-SG" sz="1400" kern="0" dirty="0">
                <a:solidFill>
                  <a:schemeClr val="dk1"/>
                </a:solidFill>
              </a:rPr>
              <a:t> from the patterns of the data. -&gt; </a:t>
            </a:r>
            <a:r>
              <a:rPr lang="en-SG" sz="1400" b="1" kern="0" dirty="0">
                <a:solidFill>
                  <a:schemeClr val="dk1"/>
                </a:solidFill>
              </a:rPr>
              <a:t>ML definition</a:t>
            </a:r>
          </a:p>
          <a:p>
            <a:endParaRPr lang="en-SG" kern="0" dirty="0"/>
          </a:p>
        </p:txBody>
      </p:sp>
      <p:graphicFrame>
        <p:nvGraphicFramePr>
          <p:cNvPr id="8" name="Diagram 7">
            <a:extLst>
              <a:ext uri="{FF2B5EF4-FFF2-40B4-BE49-F238E27FC236}">
                <a16:creationId xmlns:a16="http://schemas.microsoft.com/office/drawing/2014/main" id="{1D9E7250-DA76-4305-BC1C-25A3FABDB891}"/>
              </a:ext>
            </a:extLst>
          </p:cNvPr>
          <p:cNvGraphicFramePr/>
          <p:nvPr>
            <p:extLst>
              <p:ext uri="{D42A27DB-BD31-4B8C-83A1-F6EECF244321}">
                <p14:modId xmlns:p14="http://schemas.microsoft.com/office/powerpoint/2010/main" val="2466142082"/>
              </p:ext>
            </p:extLst>
          </p:nvPr>
        </p:nvGraphicFramePr>
        <p:xfrm>
          <a:off x="2087607" y="1455000"/>
          <a:ext cx="4392878" cy="158417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TextBox 8">
            <a:extLst>
              <a:ext uri="{FF2B5EF4-FFF2-40B4-BE49-F238E27FC236}">
                <a16:creationId xmlns:a16="http://schemas.microsoft.com/office/drawing/2014/main" id="{69E645C8-E212-4EC6-9867-07F7547C47A8}"/>
              </a:ext>
            </a:extLst>
          </p:cNvPr>
          <p:cNvSpPr txBox="1"/>
          <p:nvPr/>
        </p:nvSpPr>
        <p:spPr bwMode="auto">
          <a:xfrm>
            <a:off x="305771" y="3101154"/>
            <a:ext cx="3763609" cy="1838965"/>
          </a:xfrm>
          <a:prstGeom prst="rect">
            <a:avLst/>
          </a:prstGeom>
          <a:noFill/>
          <a:ln w="9525">
            <a:noFill/>
            <a:miter lim="800000"/>
            <a:headEnd/>
            <a:tailEnd/>
          </a:ln>
          <a:effectLst/>
        </p:spPr>
        <p:txBody>
          <a:bodyPr wrap="square" lIns="0" tIns="0" rIns="0" bIns="0" rtlCol="0" anchor="ctr" anchorCtr="0">
            <a:spAutoFit/>
          </a:bodyPr>
          <a:lstStyle/>
          <a:p>
            <a:pPr marR="0" defTabSz="914400" eaLnBrk="0" fontAlgn="auto" latinLnBrk="0" hangingPunct="0">
              <a:spcBef>
                <a:spcPts val="0"/>
              </a:spcBef>
              <a:spcAft>
                <a:spcPts val="300"/>
              </a:spcAft>
              <a:buClr>
                <a:schemeClr val="accent1"/>
              </a:buClr>
              <a:buSzTx/>
              <a:tabLst/>
            </a:pPr>
            <a:r>
              <a:rPr lang="en-SG" sz="1100" kern="0" dirty="0">
                <a:solidFill>
                  <a:schemeClr val="dk1"/>
                </a:solidFill>
                <a:latin typeface="Arial" panose="020B0604020202020204" pitchFamily="34" charset="0"/>
                <a:ea typeface="Verdana" pitchFamily="34" charset="0"/>
                <a:cs typeface="Arial" panose="020B0604020202020204" pitchFamily="34" charset="0"/>
              </a:rPr>
              <a:t>For example:</a:t>
            </a:r>
          </a:p>
          <a:p>
            <a:pPr marL="285750" marR="0" indent="-285750" defTabSz="914400" eaLnBrk="0" fontAlgn="auto" latinLnBrk="0" hangingPunct="0">
              <a:spcBef>
                <a:spcPts val="0"/>
              </a:spcBef>
              <a:spcAft>
                <a:spcPts val="300"/>
              </a:spcAft>
              <a:buClr>
                <a:schemeClr val="accent1"/>
              </a:buClr>
              <a:buSzTx/>
              <a:buFont typeface="Arial" panose="020B0604020202020204" pitchFamily="34" charset="0"/>
              <a:buChar char="›"/>
              <a:tabLst/>
            </a:pPr>
            <a:r>
              <a:rPr lang="en-SG" sz="1100" kern="0" dirty="0">
                <a:solidFill>
                  <a:schemeClr val="dk1"/>
                </a:solidFill>
                <a:latin typeface="Arial" panose="020B0604020202020204" pitchFamily="34" charset="0"/>
                <a:ea typeface="Verdana" pitchFamily="34" charset="0"/>
                <a:cs typeface="Arial" panose="020B0604020202020204" pitchFamily="34" charset="0"/>
              </a:rPr>
              <a:t>Consider a exam scenario.</a:t>
            </a:r>
          </a:p>
          <a:p>
            <a:pPr marL="228600" marR="0" indent="-228600" defTabSz="914400" eaLnBrk="0" fontAlgn="auto" latinLnBrk="0" hangingPunct="0">
              <a:spcBef>
                <a:spcPts val="0"/>
              </a:spcBef>
              <a:spcAft>
                <a:spcPts val="300"/>
              </a:spcAft>
              <a:buClr>
                <a:schemeClr val="accent1"/>
              </a:buClr>
              <a:buSzTx/>
              <a:buFont typeface="+mj-lt"/>
              <a:buAutoNum type="arabicPeriod"/>
              <a:tabLst/>
            </a:pPr>
            <a:r>
              <a:rPr lang="en-SG" sz="1100" kern="0" dirty="0">
                <a:solidFill>
                  <a:schemeClr val="dk1"/>
                </a:solidFill>
                <a:latin typeface="Arial" panose="020B0604020202020204" pitchFamily="34" charset="0"/>
                <a:ea typeface="Verdana" pitchFamily="34" charset="0"/>
                <a:cs typeface="Arial" panose="020B0604020202020204" pitchFamily="34" charset="0"/>
              </a:rPr>
              <a:t>Students are attending the exam after preparing for it.</a:t>
            </a:r>
          </a:p>
          <a:p>
            <a:pPr marL="228600" marR="0" indent="-228600" defTabSz="914400" eaLnBrk="0" fontAlgn="auto" latinLnBrk="0" hangingPunct="0">
              <a:spcBef>
                <a:spcPts val="0"/>
              </a:spcBef>
              <a:spcAft>
                <a:spcPts val="300"/>
              </a:spcAft>
              <a:buClr>
                <a:schemeClr val="accent1"/>
              </a:buClr>
              <a:buSzTx/>
              <a:buFont typeface="+mj-lt"/>
              <a:buAutoNum type="arabicPeriod"/>
              <a:tabLst/>
            </a:pPr>
            <a:endParaRPr lang="en-SG" sz="1100" kern="0" dirty="0">
              <a:solidFill>
                <a:schemeClr val="dk1"/>
              </a:solidFill>
              <a:latin typeface="Arial" panose="020B0604020202020204" pitchFamily="34" charset="0"/>
              <a:ea typeface="Verdana" pitchFamily="34" charset="0"/>
              <a:cs typeface="Arial" panose="020B0604020202020204" pitchFamily="34" charset="0"/>
            </a:endParaRPr>
          </a:p>
          <a:p>
            <a:pPr marL="228600" marR="0" indent="-228600" defTabSz="914400" eaLnBrk="0" fontAlgn="auto" latinLnBrk="0" hangingPunct="0">
              <a:spcBef>
                <a:spcPts val="0"/>
              </a:spcBef>
              <a:spcAft>
                <a:spcPts val="300"/>
              </a:spcAft>
              <a:buClr>
                <a:schemeClr val="accent1"/>
              </a:buClr>
              <a:buSzTx/>
              <a:buFont typeface="+mj-lt"/>
              <a:buAutoNum type="arabicPeriod"/>
              <a:tabLst/>
            </a:pPr>
            <a:r>
              <a:rPr lang="en-SG" sz="1100" kern="0" dirty="0">
                <a:solidFill>
                  <a:schemeClr val="dk1"/>
                </a:solidFill>
                <a:latin typeface="Arial" panose="020B0604020202020204" pitchFamily="34" charset="0"/>
                <a:ea typeface="Verdana" pitchFamily="34" charset="0"/>
                <a:cs typeface="Arial" panose="020B0604020202020204" pitchFamily="34" charset="0"/>
              </a:rPr>
              <a:t>Categorizing students in different performance category based on their grade.</a:t>
            </a:r>
          </a:p>
          <a:p>
            <a:pPr marL="228600" marR="0" indent="-228600" defTabSz="914400" eaLnBrk="0" fontAlgn="auto" latinLnBrk="0" hangingPunct="0">
              <a:spcBef>
                <a:spcPts val="0"/>
              </a:spcBef>
              <a:spcAft>
                <a:spcPts val="300"/>
              </a:spcAft>
              <a:buClr>
                <a:schemeClr val="accent1"/>
              </a:buClr>
              <a:buSzTx/>
              <a:buFont typeface="+mj-lt"/>
              <a:buAutoNum type="arabicPeriod"/>
              <a:tabLst/>
            </a:pPr>
            <a:endParaRPr lang="en-SG" sz="1100" kern="0" dirty="0">
              <a:solidFill>
                <a:schemeClr val="dk1"/>
              </a:solidFill>
              <a:latin typeface="Arial" panose="020B0604020202020204" pitchFamily="34" charset="0"/>
              <a:ea typeface="Verdana" pitchFamily="34" charset="0"/>
              <a:cs typeface="Arial" panose="020B0604020202020204" pitchFamily="34" charset="0"/>
            </a:endParaRPr>
          </a:p>
          <a:p>
            <a:pPr marL="228600" marR="0" indent="-228600" defTabSz="914400" eaLnBrk="0" fontAlgn="auto" latinLnBrk="0" hangingPunct="0">
              <a:spcBef>
                <a:spcPts val="0"/>
              </a:spcBef>
              <a:spcAft>
                <a:spcPts val="300"/>
              </a:spcAft>
              <a:buClr>
                <a:schemeClr val="accent1"/>
              </a:buClr>
              <a:buSzTx/>
              <a:buFont typeface="+mj-lt"/>
              <a:buAutoNum type="arabicPeriod"/>
              <a:tabLst/>
            </a:pPr>
            <a:r>
              <a:rPr lang="en-SG" sz="1100" kern="0" dirty="0">
                <a:solidFill>
                  <a:schemeClr val="dk1"/>
                </a:solidFill>
                <a:latin typeface="Arial" panose="020B0604020202020204" pitchFamily="34" charset="0"/>
                <a:ea typeface="Verdana" pitchFamily="34" charset="0"/>
                <a:cs typeface="Arial" panose="020B0604020202020204" pitchFamily="34" charset="0"/>
              </a:rPr>
              <a:t> Teaching students who did bad in the exam</a:t>
            </a:r>
          </a:p>
          <a:p>
            <a:pPr marR="0" defTabSz="914400" eaLnBrk="0" fontAlgn="auto" latinLnBrk="0" hangingPunct="0">
              <a:spcBef>
                <a:spcPts val="0"/>
              </a:spcBef>
              <a:spcAft>
                <a:spcPts val="300"/>
              </a:spcAft>
              <a:buClr>
                <a:schemeClr val="accent1"/>
              </a:buClr>
              <a:buSzTx/>
              <a:tabLst/>
            </a:pPr>
            <a:endParaRPr lang="en-SG" sz="1400" kern="0" dirty="0">
              <a:latin typeface="Arial" panose="020B0604020202020204" pitchFamily="34" charset="0"/>
              <a:ea typeface="Verdana" pitchFamily="34" charset="0"/>
              <a:cs typeface="Arial" panose="020B0604020202020204" pitchFamily="34" charset="0"/>
            </a:endParaRPr>
          </a:p>
        </p:txBody>
      </p:sp>
      <p:sp>
        <p:nvSpPr>
          <p:cNvPr id="10" name="TextBox 9">
            <a:extLst>
              <a:ext uri="{FF2B5EF4-FFF2-40B4-BE49-F238E27FC236}">
                <a16:creationId xmlns:a16="http://schemas.microsoft.com/office/drawing/2014/main" id="{C2B95E27-B2AB-4040-9CD6-A91069960B2D}"/>
              </a:ext>
            </a:extLst>
          </p:cNvPr>
          <p:cNvSpPr txBox="1"/>
          <p:nvPr/>
        </p:nvSpPr>
        <p:spPr bwMode="auto">
          <a:xfrm>
            <a:off x="4069380" y="3019941"/>
            <a:ext cx="4714558" cy="2092881"/>
          </a:xfrm>
          <a:prstGeom prst="rect">
            <a:avLst/>
          </a:prstGeom>
          <a:noFill/>
          <a:ln w="9525">
            <a:noFill/>
            <a:miter lim="800000"/>
            <a:headEnd/>
            <a:tailEnd/>
          </a:ln>
          <a:effectLst/>
        </p:spPr>
        <p:txBody>
          <a:bodyPr wrap="square" lIns="0" tIns="0" rIns="0" bIns="0" rtlCol="0" anchor="ctr" anchorCtr="0">
            <a:spAutoFit/>
          </a:bodyPr>
          <a:lstStyle/>
          <a:p>
            <a:pPr marL="285750" marR="0" indent="-285750" algn="just" defTabSz="914400" eaLnBrk="0" fontAlgn="auto" latinLnBrk="0" hangingPunct="0">
              <a:spcBef>
                <a:spcPts val="0"/>
              </a:spcBef>
              <a:spcAft>
                <a:spcPts val="300"/>
              </a:spcAft>
              <a:buClr>
                <a:schemeClr val="accent1"/>
              </a:buClr>
              <a:buSzTx/>
              <a:buFont typeface="Arial" panose="020B0604020202020204" pitchFamily="34" charset="0"/>
              <a:buChar char="›"/>
              <a:tabLst/>
            </a:pPr>
            <a:r>
              <a:rPr lang="en-SG" sz="1100" kern="0" dirty="0">
                <a:solidFill>
                  <a:schemeClr val="dk1"/>
                </a:solidFill>
                <a:latin typeface="Arial" panose="020B0604020202020204" pitchFamily="34" charset="0"/>
                <a:ea typeface="Verdana" pitchFamily="34" charset="0"/>
                <a:cs typeface="Arial" panose="020B0604020202020204" pitchFamily="34" charset="0"/>
              </a:rPr>
              <a:t>Firstly, the students are taking the exam after doing the preparation </a:t>
            </a:r>
          </a:p>
          <a:p>
            <a:pPr marR="0" algn="just" defTabSz="914400" eaLnBrk="0" fontAlgn="auto" latinLnBrk="0" hangingPunct="0">
              <a:spcBef>
                <a:spcPts val="0"/>
              </a:spcBef>
              <a:spcAft>
                <a:spcPts val="300"/>
              </a:spcAft>
              <a:buClr>
                <a:schemeClr val="accent1"/>
              </a:buClr>
              <a:buSzTx/>
              <a:tabLst/>
            </a:pPr>
            <a:r>
              <a:rPr lang="en-SG" sz="1100" kern="0" dirty="0">
                <a:solidFill>
                  <a:schemeClr val="dk1"/>
                </a:solidFill>
                <a:latin typeface="Arial" panose="020B0604020202020204" pitchFamily="34" charset="0"/>
                <a:ea typeface="Verdana" pitchFamily="34" charset="0"/>
                <a:cs typeface="Arial" panose="020B0604020202020204" pitchFamily="34" charset="0"/>
              </a:rPr>
              <a:t>                supervised technique</a:t>
            </a:r>
          </a:p>
          <a:p>
            <a:pPr marR="0" algn="just" defTabSz="914400" eaLnBrk="0" fontAlgn="auto" latinLnBrk="0" hangingPunct="0">
              <a:spcBef>
                <a:spcPts val="0"/>
              </a:spcBef>
              <a:spcAft>
                <a:spcPts val="300"/>
              </a:spcAft>
              <a:buClr>
                <a:schemeClr val="accent1"/>
              </a:buClr>
              <a:buSzTx/>
              <a:tabLst/>
            </a:pPr>
            <a:endParaRPr lang="en-SG" sz="1100" kern="0" dirty="0">
              <a:solidFill>
                <a:schemeClr val="dk1"/>
              </a:solidFill>
              <a:latin typeface="Arial" panose="020B0604020202020204" pitchFamily="34" charset="0"/>
              <a:ea typeface="Verdana" pitchFamily="34" charset="0"/>
              <a:cs typeface="Arial" panose="020B0604020202020204" pitchFamily="34" charset="0"/>
            </a:endParaRPr>
          </a:p>
          <a:p>
            <a:pPr marL="285750" marR="0" indent="-285750" algn="just" defTabSz="914400" eaLnBrk="0" fontAlgn="auto" latinLnBrk="0" hangingPunct="0">
              <a:spcBef>
                <a:spcPts val="0"/>
              </a:spcBef>
              <a:spcAft>
                <a:spcPts val="300"/>
              </a:spcAft>
              <a:buClr>
                <a:schemeClr val="accent1"/>
              </a:buClr>
              <a:buSzTx/>
              <a:buFont typeface="Arial" panose="020B0604020202020204" pitchFamily="34" charset="0"/>
              <a:buChar char="›"/>
              <a:tabLst/>
            </a:pPr>
            <a:r>
              <a:rPr lang="en-SG" sz="1100" kern="0" dirty="0">
                <a:solidFill>
                  <a:schemeClr val="dk1"/>
                </a:solidFill>
                <a:latin typeface="Arial" panose="020B0604020202020204" pitchFamily="34" charset="0"/>
                <a:ea typeface="Verdana" pitchFamily="34" charset="0"/>
                <a:cs typeface="Arial" panose="020B0604020202020204" pitchFamily="34" charset="0"/>
              </a:rPr>
              <a:t>Second the teacher is categorizing the students into different classes by clustering them into different score groups by measuring the distance between their grades.          Unsupervised technique</a:t>
            </a:r>
          </a:p>
          <a:p>
            <a:pPr marR="0" algn="just" defTabSz="914400" eaLnBrk="0" fontAlgn="auto" latinLnBrk="0" hangingPunct="0">
              <a:spcBef>
                <a:spcPts val="0"/>
              </a:spcBef>
              <a:spcAft>
                <a:spcPts val="300"/>
              </a:spcAft>
              <a:buClr>
                <a:schemeClr val="accent1"/>
              </a:buClr>
              <a:buSzTx/>
              <a:tabLst/>
            </a:pPr>
            <a:endParaRPr lang="en-SG" sz="1100" kern="0" dirty="0">
              <a:solidFill>
                <a:schemeClr val="dk1"/>
              </a:solidFill>
              <a:latin typeface="Arial" panose="020B0604020202020204" pitchFamily="34" charset="0"/>
              <a:ea typeface="Verdana" pitchFamily="34" charset="0"/>
              <a:cs typeface="Arial" panose="020B0604020202020204" pitchFamily="34" charset="0"/>
            </a:endParaRPr>
          </a:p>
          <a:p>
            <a:pPr marL="285750" marR="0" indent="-285750" algn="just" defTabSz="914400" eaLnBrk="0" fontAlgn="auto" latinLnBrk="0" hangingPunct="0">
              <a:spcBef>
                <a:spcPts val="0"/>
              </a:spcBef>
              <a:spcAft>
                <a:spcPts val="300"/>
              </a:spcAft>
              <a:buClr>
                <a:schemeClr val="accent1"/>
              </a:buClr>
              <a:buSzTx/>
              <a:buFont typeface="Arial" panose="020B0604020202020204" pitchFamily="34" charset="0"/>
              <a:buChar char="›"/>
              <a:tabLst/>
            </a:pPr>
            <a:r>
              <a:rPr lang="en-SG" sz="1100" kern="0" dirty="0">
                <a:solidFill>
                  <a:schemeClr val="dk1"/>
                </a:solidFill>
                <a:latin typeface="Arial" panose="020B0604020202020204" pitchFamily="34" charset="0"/>
                <a:ea typeface="Verdana" pitchFamily="34" charset="0"/>
                <a:cs typeface="Arial" panose="020B0604020202020204" pitchFamily="34" charset="0"/>
              </a:rPr>
              <a:t>Third the teacher will ask the bad performing students to appearing for exam again and if they score well then they will be rewarded otherwise there will be penalty in their score.             Reinforcement learning</a:t>
            </a:r>
          </a:p>
          <a:p>
            <a:pPr marL="285750" marR="0" indent="-285750" algn="just" defTabSz="914400" eaLnBrk="0" fontAlgn="auto" latinLnBrk="0" hangingPunct="0">
              <a:spcBef>
                <a:spcPts val="0"/>
              </a:spcBef>
              <a:spcAft>
                <a:spcPts val="300"/>
              </a:spcAft>
              <a:buClr>
                <a:schemeClr val="accent1"/>
              </a:buClr>
              <a:buSzTx/>
              <a:buFont typeface="Arial" panose="020B0604020202020204" pitchFamily="34" charset="0"/>
              <a:buChar char="›"/>
              <a:tabLst/>
            </a:pPr>
            <a:endParaRPr lang="en-SG" sz="1100" kern="0" dirty="0">
              <a:solidFill>
                <a:schemeClr val="dk1"/>
              </a:solidFill>
              <a:latin typeface="Arial" panose="020B0604020202020204" pitchFamily="34" charset="0"/>
              <a:ea typeface="Verdana" pitchFamily="34" charset="0"/>
              <a:cs typeface="Arial" panose="020B0604020202020204" pitchFamily="34" charset="0"/>
            </a:endParaRPr>
          </a:p>
        </p:txBody>
      </p:sp>
      <p:sp>
        <p:nvSpPr>
          <p:cNvPr id="11" name="TextBox 10">
            <a:extLst>
              <a:ext uri="{FF2B5EF4-FFF2-40B4-BE49-F238E27FC236}">
                <a16:creationId xmlns:a16="http://schemas.microsoft.com/office/drawing/2014/main" id="{9C6F6232-9556-4475-A6CB-29EF45BE8ADD}"/>
              </a:ext>
            </a:extLst>
          </p:cNvPr>
          <p:cNvSpPr txBox="1"/>
          <p:nvPr/>
        </p:nvSpPr>
        <p:spPr bwMode="auto">
          <a:xfrm>
            <a:off x="509717" y="2866152"/>
            <a:ext cx="983782" cy="215444"/>
          </a:xfrm>
          <a:prstGeom prst="rect">
            <a:avLst/>
          </a:prstGeom>
          <a:noFill/>
          <a:ln w="9525">
            <a:noFill/>
            <a:miter lim="800000"/>
            <a:headEnd/>
            <a:tailEnd/>
          </a:ln>
          <a:effectLst/>
        </p:spPr>
        <p:txBody>
          <a:bodyPr wrap="square" lIns="0" tIns="0" rIns="0" bIns="0" rtlCol="0" anchor="ctr" anchorCtr="0">
            <a:spAutoFit/>
          </a:bodyPr>
          <a:lstStyle/>
          <a:p>
            <a:pPr marR="0" defTabSz="914400" eaLnBrk="0" fontAlgn="auto" latinLnBrk="0" hangingPunct="0">
              <a:spcBef>
                <a:spcPts val="0"/>
              </a:spcBef>
              <a:spcAft>
                <a:spcPts val="300"/>
              </a:spcAft>
              <a:buClr>
                <a:schemeClr val="accent1"/>
              </a:buClr>
              <a:buSzTx/>
              <a:tabLst/>
            </a:pPr>
            <a:r>
              <a:rPr lang="en-SG" sz="1400" b="1" u="sng" kern="0" dirty="0">
                <a:solidFill>
                  <a:schemeClr val="dk1"/>
                </a:solidFill>
                <a:latin typeface="Arial" panose="020B0604020202020204" pitchFamily="34" charset="0"/>
                <a:ea typeface="Verdana" pitchFamily="34" charset="0"/>
                <a:cs typeface="Arial" panose="020B0604020202020204" pitchFamily="34" charset="0"/>
              </a:rPr>
              <a:t>Statements</a:t>
            </a:r>
          </a:p>
        </p:txBody>
      </p:sp>
      <p:sp>
        <p:nvSpPr>
          <p:cNvPr id="12" name="TextBox 11">
            <a:extLst>
              <a:ext uri="{FF2B5EF4-FFF2-40B4-BE49-F238E27FC236}">
                <a16:creationId xmlns:a16="http://schemas.microsoft.com/office/drawing/2014/main" id="{57BE62A7-7695-4F93-B884-E27ECD012892}"/>
              </a:ext>
            </a:extLst>
          </p:cNvPr>
          <p:cNvSpPr txBox="1"/>
          <p:nvPr/>
        </p:nvSpPr>
        <p:spPr bwMode="auto">
          <a:xfrm>
            <a:off x="6866348" y="2866152"/>
            <a:ext cx="1450918" cy="215444"/>
          </a:xfrm>
          <a:prstGeom prst="rect">
            <a:avLst/>
          </a:prstGeom>
          <a:noFill/>
          <a:ln w="9525">
            <a:noFill/>
            <a:miter lim="800000"/>
            <a:headEnd/>
            <a:tailEnd/>
          </a:ln>
          <a:effectLst/>
        </p:spPr>
        <p:txBody>
          <a:bodyPr wrap="square" lIns="0" tIns="0" rIns="0" bIns="0" rtlCol="0" anchor="ctr" anchorCtr="0">
            <a:spAutoFit/>
          </a:bodyPr>
          <a:lstStyle/>
          <a:p>
            <a:pPr marR="0" defTabSz="914400" eaLnBrk="0" fontAlgn="auto" latinLnBrk="0" hangingPunct="0">
              <a:spcBef>
                <a:spcPts val="0"/>
              </a:spcBef>
              <a:spcAft>
                <a:spcPts val="300"/>
              </a:spcAft>
              <a:buClr>
                <a:schemeClr val="accent1"/>
              </a:buClr>
              <a:buSzTx/>
              <a:tabLst/>
            </a:pPr>
            <a:r>
              <a:rPr lang="en-SG" sz="1400" b="1" u="sng" kern="0" dirty="0">
                <a:solidFill>
                  <a:schemeClr val="dk1"/>
                </a:solidFill>
                <a:latin typeface="Arial" panose="020B0604020202020204" pitchFamily="34" charset="0"/>
                <a:ea typeface="Verdana" pitchFamily="34" charset="0"/>
                <a:cs typeface="Arial" panose="020B0604020202020204" pitchFamily="34" charset="0"/>
              </a:rPr>
              <a:t>Explanation</a:t>
            </a:r>
          </a:p>
        </p:txBody>
      </p:sp>
      <p:sp>
        <p:nvSpPr>
          <p:cNvPr id="13" name="Title 12">
            <a:extLst>
              <a:ext uri="{FF2B5EF4-FFF2-40B4-BE49-F238E27FC236}">
                <a16:creationId xmlns:a16="http://schemas.microsoft.com/office/drawing/2014/main" id="{DE4B9173-A561-43CA-8370-150CF5143C38}"/>
              </a:ext>
            </a:extLst>
          </p:cNvPr>
          <p:cNvSpPr>
            <a:spLocks noGrp="1"/>
          </p:cNvSpPr>
          <p:nvPr>
            <p:ph type="title"/>
          </p:nvPr>
        </p:nvSpPr>
        <p:spPr/>
        <p:txBody>
          <a:bodyPr/>
          <a:lstStyle/>
          <a:p>
            <a:r>
              <a:rPr lang="en-SG" dirty="0"/>
              <a:t>Machine Learning Model Familiarity </a:t>
            </a:r>
          </a:p>
        </p:txBody>
      </p:sp>
      <p:sp>
        <p:nvSpPr>
          <p:cNvPr id="17" name="Slide Number Placeholder 16">
            <a:extLst>
              <a:ext uri="{FF2B5EF4-FFF2-40B4-BE49-F238E27FC236}">
                <a16:creationId xmlns:a16="http://schemas.microsoft.com/office/drawing/2014/main" id="{44671B2A-5EE4-44BC-9619-C5D72B4DBCF9}"/>
              </a:ext>
            </a:extLst>
          </p:cNvPr>
          <p:cNvSpPr>
            <a:spLocks noGrp="1"/>
          </p:cNvSpPr>
          <p:nvPr>
            <p:ph type="sldNum" sz="quarter" idx="16"/>
          </p:nvPr>
        </p:nvSpPr>
        <p:spPr/>
        <p:txBody>
          <a:bodyPr/>
          <a:lstStyle/>
          <a:p>
            <a:r>
              <a:rPr lang="en-US" dirty="0"/>
              <a:t> </a:t>
            </a:r>
          </a:p>
        </p:txBody>
      </p:sp>
      <p:cxnSp>
        <p:nvCxnSpPr>
          <p:cNvPr id="21" name="Straight Arrow Connector 20">
            <a:extLst>
              <a:ext uri="{FF2B5EF4-FFF2-40B4-BE49-F238E27FC236}">
                <a16:creationId xmlns:a16="http://schemas.microsoft.com/office/drawing/2014/main" id="{F00FD342-E2AB-434A-B402-4F5A5F77F77F}"/>
              </a:ext>
            </a:extLst>
          </p:cNvPr>
          <p:cNvCxnSpPr/>
          <p:nvPr/>
        </p:nvCxnSpPr>
        <p:spPr>
          <a:xfrm>
            <a:off x="4391060" y="3343612"/>
            <a:ext cx="266735"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960065B7-FEEA-45C3-8566-ECB419FC5414}"/>
              </a:ext>
            </a:extLst>
          </p:cNvPr>
          <p:cNvCxnSpPr/>
          <p:nvPr/>
        </p:nvCxnSpPr>
        <p:spPr>
          <a:xfrm>
            <a:off x="6322370" y="4083918"/>
            <a:ext cx="266735"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D0D88C2D-0DED-4D9F-B922-EC12A8BF1842}"/>
              </a:ext>
            </a:extLst>
          </p:cNvPr>
          <p:cNvCxnSpPr/>
          <p:nvPr/>
        </p:nvCxnSpPr>
        <p:spPr>
          <a:xfrm>
            <a:off x="6589105" y="4791075"/>
            <a:ext cx="266735"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552408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a:extLst>
              <a:ext uri="{FF2B5EF4-FFF2-40B4-BE49-F238E27FC236}">
                <a16:creationId xmlns:a16="http://schemas.microsoft.com/office/drawing/2014/main" id="{FBD7128D-0833-42DD-B300-3A822CCC5383}"/>
              </a:ext>
            </a:extLst>
          </p:cNvPr>
          <p:cNvGraphicFramePr>
            <a:graphicFrameLocks/>
          </p:cNvGraphicFramePr>
          <p:nvPr>
            <p:extLst>
              <p:ext uri="{D42A27DB-BD31-4B8C-83A1-F6EECF244321}">
                <p14:modId xmlns:p14="http://schemas.microsoft.com/office/powerpoint/2010/main" val="3321208541"/>
              </p:ext>
            </p:extLst>
          </p:nvPr>
        </p:nvGraphicFramePr>
        <p:xfrm>
          <a:off x="250826" y="1319134"/>
          <a:ext cx="8640764" cy="3467182"/>
        </p:xfrm>
        <a:graphic>
          <a:graphicData uri="http://schemas.openxmlformats.org/drawingml/2006/table">
            <a:tbl>
              <a:tblPr firstRow="1" bandRow="1">
                <a:tableStyleId>{F5AB1C69-6EDB-4FF4-983F-18BD219EF322}</a:tableStyleId>
              </a:tblPr>
              <a:tblGrid>
                <a:gridCol w="4320382">
                  <a:extLst>
                    <a:ext uri="{9D8B030D-6E8A-4147-A177-3AD203B41FA5}">
                      <a16:colId xmlns:a16="http://schemas.microsoft.com/office/drawing/2014/main" val="25908532"/>
                    </a:ext>
                  </a:extLst>
                </a:gridCol>
                <a:gridCol w="4320382">
                  <a:extLst>
                    <a:ext uri="{9D8B030D-6E8A-4147-A177-3AD203B41FA5}">
                      <a16:colId xmlns:a16="http://schemas.microsoft.com/office/drawing/2014/main" val="517526053"/>
                    </a:ext>
                  </a:extLst>
                </a:gridCol>
              </a:tblGrid>
              <a:tr h="451191">
                <a:tc>
                  <a:txBody>
                    <a:bodyPr/>
                    <a:lstStyle/>
                    <a:p>
                      <a:pPr algn="ctr"/>
                      <a:r>
                        <a:rPr lang="en-SG" dirty="0"/>
                        <a:t>Supervised Model</a:t>
                      </a:r>
                    </a:p>
                  </a:txBody>
                  <a:tcPr/>
                </a:tc>
                <a:tc>
                  <a:txBody>
                    <a:bodyPr/>
                    <a:lstStyle/>
                    <a:p>
                      <a:pPr algn="ctr"/>
                      <a:r>
                        <a:rPr lang="en-SG" dirty="0"/>
                        <a:t>Unsupervised Model</a:t>
                      </a:r>
                    </a:p>
                  </a:txBody>
                  <a:tcPr/>
                </a:tc>
                <a:extLst>
                  <a:ext uri="{0D108BD9-81ED-4DB2-BD59-A6C34878D82A}">
                    <a16:rowId xmlns:a16="http://schemas.microsoft.com/office/drawing/2014/main" val="2373963277"/>
                  </a:ext>
                </a:extLst>
              </a:tr>
              <a:tr h="3015991">
                <a:tc>
                  <a:txBody>
                    <a:bodyPr/>
                    <a:lstStyle/>
                    <a:p>
                      <a:pPr marL="285750" indent="-285750">
                        <a:buFont typeface="Arial" panose="020B0604020202020204" pitchFamily="34" charset="0"/>
                        <a:buChar char="›"/>
                      </a:pPr>
                      <a:r>
                        <a:rPr lang="en-SG" sz="1400" dirty="0"/>
                        <a:t>Supervised models require human to </a:t>
                      </a:r>
                      <a:r>
                        <a:rPr lang="en-SG" sz="1400" b="1" dirty="0"/>
                        <a:t>label</a:t>
                      </a:r>
                      <a:r>
                        <a:rPr lang="en-SG" sz="1400" dirty="0"/>
                        <a:t> the data.</a:t>
                      </a:r>
                    </a:p>
                    <a:p>
                      <a:pPr marL="0" indent="0">
                        <a:buFont typeface="Arial" panose="020B0604020202020204" pitchFamily="34" charset="0"/>
                        <a:buNone/>
                      </a:pPr>
                      <a:endParaRPr lang="en-SG" sz="1400" dirty="0"/>
                    </a:p>
                    <a:p>
                      <a:pPr marL="285750" indent="-285750">
                        <a:buFont typeface="Arial" panose="020B0604020202020204" pitchFamily="34" charset="0"/>
                        <a:buChar char="›"/>
                      </a:pPr>
                      <a:r>
                        <a:rPr lang="en-SG" sz="1400" dirty="0"/>
                        <a:t>Labelling engages </a:t>
                      </a:r>
                      <a:r>
                        <a:rPr lang="en-SG" sz="1400" b="1" dirty="0"/>
                        <a:t>BOC team </a:t>
                      </a:r>
                      <a:r>
                        <a:rPr lang="en-SG" sz="1400" dirty="0"/>
                        <a:t>to assign a particular symptom to each sentence. </a:t>
                      </a:r>
                    </a:p>
                    <a:p>
                      <a:pPr marL="0" indent="0">
                        <a:buFont typeface="Arial" panose="020B0604020202020204" pitchFamily="34" charset="0"/>
                        <a:buNone/>
                      </a:pPr>
                      <a:endParaRPr lang="en-SG" sz="1400" dirty="0"/>
                    </a:p>
                    <a:p>
                      <a:pPr marL="285750" indent="-285750">
                        <a:buFont typeface="Arial" panose="020B0604020202020204" pitchFamily="34" charset="0"/>
                        <a:buChar char="›"/>
                      </a:pPr>
                      <a:r>
                        <a:rPr lang="en-SG" sz="1400" dirty="0"/>
                        <a:t>This makes the task difficult and some of the sentences can’t be easily interpretable. </a:t>
                      </a:r>
                    </a:p>
                    <a:p>
                      <a:pPr marL="0" indent="0">
                        <a:buFont typeface="Arial" panose="020B0604020202020204" pitchFamily="34" charset="0"/>
                        <a:buNone/>
                      </a:pPr>
                      <a:endParaRPr lang="en-SG" sz="1400" dirty="0"/>
                    </a:p>
                    <a:p>
                      <a:pPr marL="285750" indent="-285750">
                        <a:buFont typeface="Arial" panose="020B0604020202020204" pitchFamily="34" charset="0"/>
                        <a:buChar char="›"/>
                      </a:pPr>
                      <a:r>
                        <a:rPr lang="en-SG" sz="1400" dirty="0"/>
                        <a:t>For example: </a:t>
                      </a:r>
                      <a:r>
                        <a:rPr lang="en-SG" sz="1400" b="1" dirty="0"/>
                        <a:t>LSTM</a:t>
                      </a:r>
                      <a:r>
                        <a:rPr lang="en-SG" sz="1400" dirty="0"/>
                        <a:t> model which provides</a:t>
                      </a:r>
                    </a:p>
                    <a:p>
                      <a:pPr marL="0" indent="0">
                        <a:buFont typeface="Arial" panose="020B0604020202020204" pitchFamily="34" charset="0"/>
                        <a:buNone/>
                      </a:pPr>
                      <a:r>
                        <a:rPr lang="en-SG" sz="1400" b="1" dirty="0"/>
                        <a:t>good</a:t>
                      </a:r>
                      <a:r>
                        <a:rPr lang="en-SG" sz="1400" dirty="0"/>
                        <a:t> accuracy during </a:t>
                      </a:r>
                      <a:r>
                        <a:rPr lang="en-SG" sz="1400" b="1" dirty="0"/>
                        <a:t>training</a:t>
                      </a:r>
                      <a:r>
                        <a:rPr lang="en-SG" sz="1400" dirty="0"/>
                        <a:t> but </a:t>
                      </a:r>
                      <a:r>
                        <a:rPr lang="en-SG" sz="1400" b="1" dirty="0"/>
                        <a:t>not</a:t>
                      </a:r>
                      <a:r>
                        <a:rPr lang="en-SG" sz="1400" dirty="0"/>
                        <a:t> during </a:t>
                      </a:r>
                      <a:r>
                        <a:rPr lang="en-SG" sz="1400" b="1" dirty="0"/>
                        <a:t>test</a:t>
                      </a:r>
                      <a:r>
                        <a:rPr lang="en-SG" sz="1400" dirty="0"/>
                        <a:t>. </a:t>
                      </a:r>
                    </a:p>
                  </a:txBody>
                  <a:tcPr/>
                </a:tc>
                <a:tc>
                  <a:txBody>
                    <a:bodyPr/>
                    <a:lstStyle/>
                    <a:p>
                      <a:pPr marL="285750" indent="-285750">
                        <a:buFont typeface="Arial" panose="020B0604020202020204" pitchFamily="34" charset="0"/>
                        <a:buChar char="›"/>
                      </a:pPr>
                      <a:r>
                        <a:rPr lang="en-SG" sz="1400" dirty="0"/>
                        <a:t>Use only data to find the </a:t>
                      </a:r>
                      <a:r>
                        <a:rPr lang="en-SG" sz="1400" b="1" dirty="0"/>
                        <a:t>pattern</a:t>
                      </a:r>
                      <a:r>
                        <a:rPr lang="en-SG" sz="1400" dirty="0"/>
                        <a:t> in between them by </a:t>
                      </a:r>
                      <a:r>
                        <a:rPr lang="en-SG" sz="1400" b="1" dirty="0"/>
                        <a:t>clustering</a:t>
                      </a:r>
                      <a:r>
                        <a:rPr lang="en-SG" sz="1400" dirty="0"/>
                        <a:t> or </a:t>
                      </a:r>
                      <a:r>
                        <a:rPr lang="en-SG" sz="1400" b="1" dirty="0"/>
                        <a:t>association</a:t>
                      </a:r>
                      <a:r>
                        <a:rPr lang="en-SG" sz="1400" dirty="0"/>
                        <a:t> technique.</a:t>
                      </a:r>
                    </a:p>
                    <a:p>
                      <a:pPr marL="0" indent="0">
                        <a:buFont typeface="Arial" panose="020B0604020202020204" pitchFamily="34" charset="0"/>
                        <a:buNone/>
                      </a:pPr>
                      <a:endParaRPr lang="en-SG" sz="1400" dirty="0"/>
                    </a:p>
                    <a:p>
                      <a:pPr marL="285750" indent="-285750">
                        <a:buFont typeface="Arial" panose="020B0604020202020204" pitchFamily="34" charset="0"/>
                        <a:buChar char="›"/>
                      </a:pPr>
                      <a:r>
                        <a:rPr lang="en-SG" sz="1400" dirty="0"/>
                        <a:t>In our case we explored the </a:t>
                      </a:r>
                      <a:r>
                        <a:rPr lang="en-SG" sz="1400" b="1" dirty="0"/>
                        <a:t>topic modelling </a:t>
                      </a:r>
                      <a:r>
                        <a:rPr lang="en-SG" sz="1400" dirty="0"/>
                        <a:t>techniques.</a:t>
                      </a:r>
                    </a:p>
                    <a:p>
                      <a:pPr marL="0" indent="0">
                        <a:buFont typeface="Arial" panose="020B0604020202020204" pitchFamily="34" charset="0"/>
                        <a:buNone/>
                      </a:pPr>
                      <a:endParaRPr lang="en-SG" sz="1400" dirty="0"/>
                    </a:p>
                    <a:p>
                      <a:pPr marL="285750" indent="-285750">
                        <a:buFont typeface="Arial" panose="020B0604020202020204" pitchFamily="34" charset="0"/>
                        <a:buChar char="›"/>
                      </a:pPr>
                      <a:r>
                        <a:rPr lang="en-SG" sz="1400" dirty="0"/>
                        <a:t>This technique </a:t>
                      </a:r>
                      <a:r>
                        <a:rPr lang="en-SG" sz="1400" b="1" dirty="0"/>
                        <a:t>clusters</a:t>
                      </a:r>
                      <a:r>
                        <a:rPr lang="en-SG" sz="1400" dirty="0"/>
                        <a:t> the words using </a:t>
                      </a:r>
                      <a:r>
                        <a:rPr lang="en-SG" sz="1400" b="1" dirty="0"/>
                        <a:t>probabilistic</a:t>
                      </a:r>
                      <a:r>
                        <a:rPr lang="en-SG" sz="1400" dirty="0"/>
                        <a:t> </a:t>
                      </a:r>
                      <a:r>
                        <a:rPr lang="en-SG" sz="1400" b="1" dirty="0"/>
                        <a:t>LDA</a:t>
                      </a:r>
                      <a:r>
                        <a:rPr lang="en-SG" sz="1400" dirty="0"/>
                        <a:t> approach. </a:t>
                      </a:r>
                    </a:p>
                    <a:p>
                      <a:pPr marL="0" indent="0">
                        <a:buFont typeface="Arial" panose="020B0604020202020204" pitchFamily="34" charset="0"/>
                        <a:buNone/>
                      </a:pPr>
                      <a:endParaRPr lang="en-SG" sz="1400" dirty="0"/>
                    </a:p>
                    <a:p>
                      <a:pPr marL="285750" indent="-285750" algn="l">
                        <a:buFont typeface="Arial" panose="020B0604020202020204" pitchFamily="34" charset="0"/>
                        <a:buChar char="›"/>
                      </a:pPr>
                      <a:r>
                        <a:rPr lang="en-SG" sz="1400" dirty="0"/>
                        <a:t>Moreover, it calculates the distance in between the words of same sentence and distance between words of other sentences</a:t>
                      </a:r>
                    </a:p>
                  </a:txBody>
                  <a:tcPr/>
                </a:tc>
                <a:extLst>
                  <a:ext uri="{0D108BD9-81ED-4DB2-BD59-A6C34878D82A}">
                    <a16:rowId xmlns:a16="http://schemas.microsoft.com/office/drawing/2014/main" val="3496429882"/>
                  </a:ext>
                </a:extLst>
              </a:tr>
            </a:tbl>
          </a:graphicData>
        </a:graphic>
      </p:graphicFrame>
      <p:sp>
        <p:nvSpPr>
          <p:cNvPr id="8" name="TextBox 7">
            <a:extLst>
              <a:ext uri="{FF2B5EF4-FFF2-40B4-BE49-F238E27FC236}">
                <a16:creationId xmlns:a16="http://schemas.microsoft.com/office/drawing/2014/main" id="{97BC2895-F8D3-4597-BA58-A32143708218}"/>
              </a:ext>
            </a:extLst>
          </p:cNvPr>
          <p:cNvSpPr txBox="1"/>
          <p:nvPr/>
        </p:nvSpPr>
        <p:spPr bwMode="auto">
          <a:xfrm>
            <a:off x="256594" y="951311"/>
            <a:ext cx="5399609" cy="245036"/>
          </a:xfrm>
          <a:prstGeom prst="rect">
            <a:avLst/>
          </a:prstGeom>
          <a:noFill/>
          <a:ln w="9525">
            <a:noFill/>
            <a:miter lim="800000"/>
            <a:headEnd/>
            <a:tailEnd/>
          </a:ln>
          <a:effectLst/>
        </p:spPr>
        <p:txBody>
          <a:bodyPr wrap="square" lIns="0" tIns="0" rIns="0" bIns="0" rtlCol="0" anchor="ctr" anchorCtr="0">
            <a:spAutoFit/>
          </a:bodyPr>
          <a:lstStyle/>
          <a:p>
            <a:pPr marL="285750" indent="-285750">
              <a:buFont typeface="Arial" panose="020B0604020202020204" pitchFamily="34" charset="0"/>
              <a:buChar char="›"/>
            </a:pPr>
            <a:r>
              <a:rPr lang="en-SG" sz="1400" dirty="0">
                <a:solidFill>
                  <a:schemeClr val="dk1"/>
                </a:solidFill>
              </a:rPr>
              <a:t>Our goal is to extract the symptoms from incident tickets</a:t>
            </a:r>
          </a:p>
        </p:txBody>
      </p:sp>
      <p:sp>
        <p:nvSpPr>
          <p:cNvPr id="9" name="Title 8">
            <a:extLst>
              <a:ext uri="{FF2B5EF4-FFF2-40B4-BE49-F238E27FC236}">
                <a16:creationId xmlns:a16="http://schemas.microsoft.com/office/drawing/2014/main" id="{F9499AA4-1E90-438A-9B26-3FEA902710BE}"/>
              </a:ext>
            </a:extLst>
          </p:cNvPr>
          <p:cNvSpPr>
            <a:spLocks noGrp="1"/>
          </p:cNvSpPr>
          <p:nvPr>
            <p:ph type="title"/>
          </p:nvPr>
        </p:nvSpPr>
        <p:spPr/>
        <p:txBody>
          <a:bodyPr/>
          <a:lstStyle/>
          <a:p>
            <a:r>
              <a:rPr lang="en-GB" dirty="0"/>
              <a:t>Model exploration in regard to the Remedy Incident Ticket</a:t>
            </a:r>
            <a:endParaRPr lang="en-SG" dirty="0"/>
          </a:p>
        </p:txBody>
      </p:sp>
      <p:sp>
        <p:nvSpPr>
          <p:cNvPr id="13" name="Slide Number Placeholder 12">
            <a:extLst>
              <a:ext uri="{FF2B5EF4-FFF2-40B4-BE49-F238E27FC236}">
                <a16:creationId xmlns:a16="http://schemas.microsoft.com/office/drawing/2014/main" id="{6C6B286B-CDE0-424E-9055-0F89B11517DB}"/>
              </a:ext>
            </a:extLst>
          </p:cNvPr>
          <p:cNvSpPr>
            <a:spLocks noGrp="1"/>
          </p:cNvSpPr>
          <p:nvPr>
            <p:ph type="sldNum" sz="quarter" idx="16"/>
          </p:nvPr>
        </p:nvSpPr>
        <p:spPr/>
        <p:txBody>
          <a:bodyPr/>
          <a:lstStyle/>
          <a:p>
            <a:r>
              <a:rPr lang="en-US" dirty="0"/>
              <a:t> </a:t>
            </a:r>
          </a:p>
        </p:txBody>
      </p:sp>
    </p:spTree>
    <p:extLst>
      <p:ext uri="{BB962C8B-B14F-4D97-AF65-F5344CB8AC3E}">
        <p14:creationId xmlns:p14="http://schemas.microsoft.com/office/powerpoint/2010/main" val="20790271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4">
            <a:extLst>
              <a:ext uri="{FF2B5EF4-FFF2-40B4-BE49-F238E27FC236}">
                <a16:creationId xmlns:a16="http://schemas.microsoft.com/office/drawing/2014/main" id="{5CF85C67-DE77-4BD6-AE17-98CC4952D9F6}"/>
              </a:ext>
            </a:extLst>
          </p:cNvPr>
          <p:cNvSpPr txBox="1">
            <a:spLocks/>
          </p:cNvSpPr>
          <p:nvPr/>
        </p:nvSpPr>
        <p:spPr>
          <a:xfrm>
            <a:off x="250826" y="951311"/>
            <a:ext cx="8640764" cy="3835005"/>
          </a:xfrm>
          <a:prstGeom prst="rect">
            <a:avLst/>
          </a:prstGeom>
        </p:spPr>
        <p:txBody>
          <a:bodyPr vert="horz" lIns="0" tIns="0" rIns="0" bIns="0" rtlCol="0">
            <a:noAutofit/>
          </a:bodyPr>
          <a:lstStyle>
            <a:lvl1pPr marL="135000" indent="-135000" algn="l" defTabSz="432000" rtl="0" eaLnBrk="1" fontAlgn="base" hangingPunct="1">
              <a:spcBef>
                <a:spcPts val="0"/>
              </a:spcBef>
              <a:spcAft>
                <a:spcPts val="0"/>
              </a:spcAft>
              <a:buClr>
                <a:schemeClr val="accent1"/>
              </a:buClr>
              <a:buSzPct val="100000"/>
              <a:buFont typeface="Arial" panose="020B0604020202020204" pitchFamily="34" charset="0"/>
              <a:buChar char="›"/>
              <a:defRPr sz="1500" baseline="0">
                <a:solidFill>
                  <a:schemeClr val="tx1"/>
                </a:solidFill>
                <a:latin typeface="+mn-lt"/>
                <a:ea typeface="+mn-ea"/>
                <a:cs typeface="+mn-cs"/>
              </a:defRPr>
            </a:lvl1pPr>
            <a:lvl2pPr marL="337500" indent="-202500" algn="l" defTabSz="432000" rtl="0" eaLnBrk="1" fontAlgn="base" hangingPunct="1">
              <a:spcBef>
                <a:spcPts val="0"/>
              </a:spcBef>
              <a:spcAft>
                <a:spcPts val="0"/>
              </a:spcAft>
              <a:buClr>
                <a:schemeClr val="accent1"/>
              </a:buClr>
              <a:buSzPct val="100000"/>
              <a:buFont typeface="Verdana" panose="020B0604030504040204" pitchFamily="34" charset="0"/>
              <a:buChar char="–"/>
              <a:defRPr sz="1500">
                <a:solidFill>
                  <a:schemeClr val="tx1"/>
                </a:solidFill>
                <a:latin typeface="+mn-lt"/>
                <a:ea typeface="+mn-ea"/>
                <a:cs typeface="+mn-cs"/>
              </a:defRPr>
            </a:lvl2pPr>
            <a:lvl3pPr marL="472500" indent="-135000" algn="l" defTabSz="432000" rtl="0" eaLnBrk="1" fontAlgn="base" hangingPunct="1">
              <a:spcBef>
                <a:spcPts val="0"/>
              </a:spcBef>
              <a:spcAft>
                <a:spcPts val="0"/>
              </a:spcAft>
              <a:buClr>
                <a:schemeClr val="accent1"/>
              </a:buClr>
              <a:buSzPct val="100000"/>
              <a:buFont typeface="Arial" panose="020B0604020202020204" pitchFamily="34" charset="0"/>
              <a:buChar char="–"/>
              <a:defRPr sz="1350" baseline="0">
                <a:solidFill>
                  <a:schemeClr val="tx1"/>
                </a:solidFill>
                <a:latin typeface="+mn-lt"/>
                <a:ea typeface="+mn-ea"/>
                <a:cs typeface="+mn-cs"/>
              </a:defRPr>
            </a:lvl3pPr>
            <a:lvl4pPr marL="602100" indent="-129600" algn="l" defTabSz="432000" rtl="0" eaLnBrk="1" fontAlgn="base" hangingPunct="1">
              <a:spcBef>
                <a:spcPts val="0"/>
              </a:spcBef>
              <a:spcAft>
                <a:spcPts val="0"/>
              </a:spcAft>
              <a:buClr>
                <a:schemeClr val="accent1"/>
              </a:buClr>
              <a:buSzPct val="100000"/>
              <a:buFont typeface="Arial" panose="020B0604020202020204" pitchFamily="34" charset="0"/>
              <a:buChar char="–"/>
              <a:defRPr sz="1200" baseline="0">
                <a:solidFill>
                  <a:schemeClr val="tx1"/>
                </a:solidFill>
                <a:latin typeface="+mn-lt"/>
                <a:ea typeface="+mn-ea"/>
                <a:cs typeface="+mn-cs"/>
              </a:defRPr>
            </a:lvl4pPr>
            <a:lvl5pPr marL="737100" indent="-135000" algn="l" defTabSz="432000" rtl="0" eaLnBrk="1" fontAlgn="base" hangingPunct="1">
              <a:spcBef>
                <a:spcPts val="0"/>
              </a:spcBef>
              <a:spcAft>
                <a:spcPts val="0"/>
              </a:spcAft>
              <a:buClr>
                <a:schemeClr val="accent1"/>
              </a:buClr>
              <a:buSzPct val="100000"/>
              <a:buFont typeface="Arial" panose="020B0604020202020204" pitchFamily="34" charset="0"/>
              <a:buChar char="–"/>
              <a:defRPr sz="1050" baseline="0">
                <a:solidFill>
                  <a:schemeClr val="tx1"/>
                </a:solidFill>
                <a:latin typeface="+mn-lt"/>
                <a:ea typeface="+mn-ea"/>
                <a:cs typeface="+mn-cs"/>
              </a:defRPr>
            </a:lvl5pPr>
            <a:lvl6pPr marL="737100" indent="-135000" algn="l" defTabSz="432000" rtl="0" eaLnBrk="1" fontAlgn="base" hangingPunct="1">
              <a:spcBef>
                <a:spcPts val="0"/>
              </a:spcBef>
              <a:spcAft>
                <a:spcPts val="0"/>
              </a:spcAft>
              <a:buClr>
                <a:schemeClr val="accent1"/>
              </a:buClr>
              <a:buFont typeface="Arial" panose="020B0604020202020204" pitchFamily="34" charset="0"/>
              <a:buChar char="–"/>
              <a:defRPr sz="1050" baseline="0">
                <a:solidFill>
                  <a:schemeClr val="tx1"/>
                </a:solidFill>
                <a:latin typeface="+mn-lt"/>
                <a:cs typeface="+mn-cs"/>
              </a:defRPr>
            </a:lvl6pPr>
            <a:lvl7pPr marL="737100" indent="-135000" algn="l" defTabSz="432000" rtl="0" eaLnBrk="1" fontAlgn="base" hangingPunct="1">
              <a:spcBef>
                <a:spcPts val="0"/>
              </a:spcBef>
              <a:spcAft>
                <a:spcPct val="0"/>
              </a:spcAft>
              <a:buClr>
                <a:schemeClr val="accent1"/>
              </a:buClr>
              <a:buFont typeface="Arial" panose="020B0604020202020204" pitchFamily="34" charset="0"/>
              <a:buChar char="–"/>
              <a:defRPr sz="1050">
                <a:solidFill>
                  <a:schemeClr val="tx1"/>
                </a:solidFill>
                <a:latin typeface="+mn-lt"/>
                <a:cs typeface="+mn-cs"/>
              </a:defRPr>
            </a:lvl7pPr>
            <a:lvl8pPr marL="737100" indent="-135000" algn="l" defTabSz="432000" rtl="0" eaLnBrk="1" fontAlgn="base" hangingPunct="1">
              <a:spcBef>
                <a:spcPts val="0"/>
              </a:spcBef>
              <a:spcAft>
                <a:spcPct val="0"/>
              </a:spcAft>
              <a:buClr>
                <a:schemeClr val="accent1"/>
              </a:buClr>
              <a:buFont typeface="Arial" panose="020B0604020202020204" pitchFamily="34" charset="0"/>
              <a:buChar char="–"/>
              <a:defRPr sz="1050">
                <a:solidFill>
                  <a:schemeClr val="tx1"/>
                </a:solidFill>
                <a:latin typeface="+mn-lt"/>
                <a:cs typeface="+mn-cs"/>
              </a:defRPr>
            </a:lvl8pPr>
            <a:lvl9pPr marL="737100" indent="-135000" algn="l" defTabSz="432000" rtl="0" eaLnBrk="1" fontAlgn="base" hangingPunct="1">
              <a:spcBef>
                <a:spcPts val="0"/>
              </a:spcBef>
              <a:spcAft>
                <a:spcPct val="0"/>
              </a:spcAft>
              <a:buClr>
                <a:schemeClr val="accent1"/>
              </a:buClr>
              <a:buFont typeface="Arial" panose="020B0604020202020204" pitchFamily="34" charset="0"/>
              <a:buChar char="–"/>
              <a:defRPr sz="1050">
                <a:solidFill>
                  <a:schemeClr val="tx1"/>
                </a:solidFill>
                <a:latin typeface="+mn-lt"/>
                <a:cs typeface="+mn-cs"/>
              </a:defRPr>
            </a:lvl9pPr>
          </a:lstStyle>
          <a:p>
            <a:r>
              <a:rPr lang="en-SG" sz="1400" kern="0" dirty="0">
                <a:solidFill>
                  <a:schemeClr val="dk1"/>
                </a:solidFill>
              </a:rPr>
              <a:t>Unsupervised Models that I tried so far:</a:t>
            </a:r>
          </a:p>
          <a:p>
            <a:endParaRPr lang="en-SG" kern="0" dirty="0"/>
          </a:p>
        </p:txBody>
      </p:sp>
      <p:graphicFrame>
        <p:nvGraphicFramePr>
          <p:cNvPr id="8" name="Diagram 7">
            <a:extLst>
              <a:ext uri="{FF2B5EF4-FFF2-40B4-BE49-F238E27FC236}">
                <a16:creationId xmlns:a16="http://schemas.microsoft.com/office/drawing/2014/main" id="{B4C530F9-905A-4D96-AFA2-3560F614F2EB}"/>
              </a:ext>
            </a:extLst>
          </p:cNvPr>
          <p:cNvGraphicFramePr/>
          <p:nvPr>
            <p:extLst>
              <p:ext uri="{D42A27DB-BD31-4B8C-83A1-F6EECF244321}">
                <p14:modId xmlns:p14="http://schemas.microsoft.com/office/powerpoint/2010/main" val="3721535081"/>
              </p:ext>
            </p:extLst>
          </p:nvPr>
        </p:nvGraphicFramePr>
        <p:xfrm>
          <a:off x="263212" y="1301438"/>
          <a:ext cx="4959063" cy="332237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Rectangle 8">
            <a:extLst>
              <a:ext uri="{FF2B5EF4-FFF2-40B4-BE49-F238E27FC236}">
                <a16:creationId xmlns:a16="http://schemas.microsoft.com/office/drawing/2014/main" id="{28D1DA9F-E6E6-435D-9E61-1492DFB5517B}"/>
              </a:ext>
            </a:extLst>
          </p:cNvPr>
          <p:cNvSpPr/>
          <p:nvPr/>
        </p:nvSpPr>
        <p:spPr bwMode="auto">
          <a:xfrm>
            <a:off x="5213106" y="1279862"/>
            <a:ext cx="3606421" cy="853398"/>
          </a:xfrm>
          <a:prstGeom prst="rect">
            <a:avLst/>
          </a:prstGeom>
          <a:solidFill>
            <a:srgbClr val="D1E1DB"/>
          </a:solidFill>
          <a:ln w="9525">
            <a:noFill/>
            <a:miter lim="800000"/>
            <a:headEnd/>
            <a:tailEnd/>
          </a:ln>
        </p:spPr>
        <p:txBody>
          <a:bodyPr wrap="square" lIns="72000" tIns="72000" rIns="72000" bIns="72000" rtlCol="0" anchor="ctr"/>
          <a:lstStyle/>
          <a:p>
            <a:pPr lvl="0"/>
            <a:r>
              <a:rPr lang="en-SG" sz="1400" dirty="0">
                <a:solidFill>
                  <a:schemeClr val="dk1"/>
                </a:solidFill>
              </a:rPr>
              <a:t>Not able to cluster sentences properly and the topics are not understandable. Since this pretrained model is trained on Wikipedia data.</a:t>
            </a:r>
          </a:p>
        </p:txBody>
      </p:sp>
      <p:sp>
        <p:nvSpPr>
          <p:cNvPr id="10" name="Rectangle 9">
            <a:extLst>
              <a:ext uri="{FF2B5EF4-FFF2-40B4-BE49-F238E27FC236}">
                <a16:creationId xmlns:a16="http://schemas.microsoft.com/office/drawing/2014/main" id="{404995D0-7915-42AA-B6AC-D268C65124B7}"/>
              </a:ext>
            </a:extLst>
          </p:cNvPr>
          <p:cNvSpPr/>
          <p:nvPr/>
        </p:nvSpPr>
        <p:spPr bwMode="auto">
          <a:xfrm>
            <a:off x="5222275" y="2206250"/>
            <a:ext cx="3618153" cy="430849"/>
          </a:xfrm>
          <a:prstGeom prst="rect">
            <a:avLst/>
          </a:prstGeom>
          <a:solidFill>
            <a:srgbClr val="D1E1DB"/>
          </a:solidFill>
          <a:ln w="9525">
            <a:noFill/>
            <a:miter lim="800000"/>
            <a:headEnd/>
            <a:tailEnd/>
          </a:ln>
        </p:spPr>
        <p:txBody>
          <a:bodyPr wrap="square" lIns="72000" tIns="72000" rIns="72000" bIns="72000" rtlCol="0" anchor="ctr"/>
          <a:lstStyle/>
          <a:p>
            <a:pPr lvl="0"/>
            <a:r>
              <a:rPr lang="en-SG" sz="1400" dirty="0">
                <a:solidFill>
                  <a:schemeClr val="dk1"/>
                </a:solidFill>
              </a:rPr>
              <a:t>The topics are not that relevant to what we expected</a:t>
            </a:r>
          </a:p>
        </p:txBody>
      </p:sp>
      <p:sp>
        <p:nvSpPr>
          <p:cNvPr id="11" name="Rectangle 10">
            <a:extLst>
              <a:ext uri="{FF2B5EF4-FFF2-40B4-BE49-F238E27FC236}">
                <a16:creationId xmlns:a16="http://schemas.microsoft.com/office/drawing/2014/main" id="{375B477D-7441-45B6-8286-7C2CECF61119}"/>
              </a:ext>
            </a:extLst>
          </p:cNvPr>
          <p:cNvSpPr/>
          <p:nvPr/>
        </p:nvSpPr>
        <p:spPr bwMode="auto">
          <a:xfrm>
            <a:off x="5215751" y="2747197"/>
            <a:ext cx="3606419" cy="430849"/>
          </a:xfrm>
          <a:prstGeom prst="rect">
            <a:avLst/>
          </a:prstGeom>
          <a:solidFill>
            <a:srgbClr val="D1E1DB">
              <a:alpha val="50000"/>
            </a:srgbClr>
          </a:solidFill>
          <a:ln>
            <a:solidFill>
              <a:schemeClr val="tx1"/>
            </a:solidFill>
          </a:ln>
        </p:spPr>
        <p:style>
          <a:lnRef idx="0">
            <a:scrgbClr r="0" g="0" b="0"/>
          </a:lnRef>
          <a:fillRef idx="0">
            <a:scrgbClr r="0" g="0" b="0"/>
          </a:fillRef>
          <a:effectRef idx="0">
            <a:scrgbClr r="0" g="0" b="0"/>
          </a:effectRef>
          <a:fontRef idx="minor">
            <a:schemeClr val="lt1"/>
          </a:fontRef>
        </p:style>
        <p:txBody>
          <a:bodyPr wrap="square" lIns="72000" tIns="72000" rIns="72000" bIns="72000" rtlCol="0" anchor="ctr"/>
          <a:lstStyle/>
          <a:p>
            <a:pPr lvl="0"/>
            <a:r>
              <a:rPr lang="en-SG" sz="1400" dirty="0">
                <a:ln w="0"/>
                <a:solidFill>
                  <a:schemeClr val="dk1"/>
                </a:solidFill>
                <a:effectLst>
                  <a:outerShdw blurRad="38100" dist="25400" dir="5400000" algn="ctr" rotWithShape="0">
                    <a:srgbClr val="6E747A">
                      <a:alpha val="43000"/>
                    </a:srgbClr>
                  </a:outerShdw>
                </a:effectLst>
              </a:rPr>
              <a:t>Giving decent result. But further hyperparameter tuning is required</a:t>
            </a:r>
          </a:p>
        </p:txBody>
      </p:sp>
      <p:sp>
        <p:nvSpPr>
          <p:cNvPr id="12" name="Rectangle 11">
            <a:extLst>
              <a:ext uri="{FF2B5EF4-FFF2-40B4-BE49-F238E27FC236}">
                <a16:creationId xmlns:a16="http://schemas.microsoft.com/office/drawing/2014/main" id="{60C7907F-46C5-451B-A21C-40C065DA782D}"/>
              </a:ext>
            </a:extLst>
          </p:cNvPr>
          <p:cNvSpPr/>
          <p:nvPr/>
        </p:nvSpPr>
        <p:spPr bwMode="auto">
          <a:xfrm>
            <a:off x="5220236" y="3288144"/>
            <a:ext cx="3606418" cy="430849"/>
          </a:xfrm>
          <a:prstGeom prst="rect">
            <a:avLst/>
          </a:prstGeom>
          <a:solidFill>
            <a:srgbClr val="D1E1DB"/>
          </a:solidFill>
          <a:ln w="9525">
            <a:noFill/>
            <a:miter lim="800000"/>
            <a:headEnd/>
            <a:tailEnd/>
          </a:ln>
        </p:spPr>
        <p:txBody>
          <a:bodyPr wrap="square" lIns="72000" tIns="72000" rIns="72000" bIns="72000" rtlCol="0" anchor="ctr"/>
          <a:lstStyle/>
          <a:p>
            <a:pPr lvl="0"/>
            <a:r>
              <a:rPr lang="en-SG" sz="1400" dirty="0">
                <a:solidFill>
                  <a:schemeClr val="dk1"/>
                </a:solidFill>
              </a:rPr>
              <a:t>Providing good topics but predictions on the sentences are not accurate</a:t>
            </a:r>
          </a:p>
        </p:txBody>
      </p:sp>
      <p:sp>
        <p:nvSpPr>
          <p:cNvPr id="13" name="Rectangle 12">
            <a:extLst>
              <a:ext uri="{FF2B5EF4-FFF2-40B4-BE49-F238E27FC236}">
                <a16:creationId xmlns:a16="http://schemas.microsoft.com/office/drawing/2014/main" id="{E978DEE5-6B8A-4E18-97FE-1AB7A7758BA7}"/>
              </a:ext>
            </a:extLst>
          </p:cNvPr>
          <p:cNvSpPr/>
          <p:nvPr/>
        </p:nvSpPr>
        <p:spPr bwMode="auto">
          <a:xfrm>
            <a:off x="5208503" y="3802906"/>
            <a:ext cx="3606418" cy="586863"/>
          </a:xfrm>
          <a:prstGeom prst="rect">
            <a:avLst/>
          </a:prstGeom>
          <a:solidFill>
            <a:srgbClr val="D1E1DB"/>
          </a:solidFill>
          <a:ln w="9525">
            <a:noFill/>
            <a:miter lim="800000"/>
            <a:headEnd/>
            <a:tailEnd/>
          </a:ln>
        </p:spPr>
        <p:txBody>
          <a:bodyPr wrap="square" lIns="72000" tIns="72000" rIns="72000" bIns="72000" rtlCol="0" anchor="ctr"/>
          <a:lstStyle/>
          <a:p>
            <a:pPr lvl="0"/>
            <a:r>
              <a:rPr lang="en-SG" sz="1400" dirty="0">
                <a:solidFill>
                  <a:schemeClr val="dk1"/>
                </a:solidFill>
              </a:rPr>
              <a:t>Uses a lot of resource to process the data.</a:t>
            </a:r>
          </a:p>
          <a:p>
            <a:pPr lvl="0"/>
            <a:r>
              <a:rPr lang="en-SG" sz="1400" dirty="0">
                <a:solidFill>
                  <a:schemeClr val="dk1"/>
                </a:solidFill>
              </a:rPr>
              <a:t>Didn’t get to explore much due to time constraint</a:t>
            </a:r>
          </a:p>
        </p:txBody>
      </p:sp>
      <p:sp>
        <p:nvSpPr>
          <p:cNvPr id="14" name="Rectangle 13">
            <a:extLst>
              <a:ext uri="{FF2B5EF4-FFF2-40B4-BE49-F238E27FC236}">
                <a16:creationId xmlns:a16="http://schemas.microsoft.com/office/drawing/2014/main" id="{9C054D3C-60C7-459A-A0DA-31A2C3253199}"/>
              </a:ext>
            </a:extLst>
          </p:cNvPr>
          <p:cNvSpPr/>
          <p:nvPr/>
        </p:nvSpPr>
        <p:spPr bwMode="auto">
          <a:xfrm>
            <a:off x="8100813" y="2747197"/>
            <a:ext cx="714109" cy="368710"/>
          </a:xfrm>
          <a:prstGeom prst="rect">
            <a:avLst/>
          </a:prstGeom>
          <a:solidFill>
            <a:schemeClr val="accent3"/>
          </a:solidFill>
          <a:ln>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eaLnBrk="0" hangingPunct="0"/>
            <a:r>
              <a:rPr lang="en-SG" sz="1200" dirty="0">
                <a:solidFill>
                  <a:schemeClr val="dk1"/>
                </a:solidFill>
                <a:latin typeface="+mn-lt"/>
                <a:ea typeface="Verdana" pitchFamily="34" charset="0"/>
                <a:cs typeface="Verdana" pitchFamily="34" charset="0"/>
              </a:rPr>
              <a:t>Final Model</a:t>
            </a:r>
          </a:p>
        </p:txBody>
      </p:sp>
      <p:sp>
        <p:nvSpPr>
          <p:cNvPr id="15" name="Title 14">
            <a:extLst>
              <a:ext uri="{FF2B5EF4-FFF2-40B4-BE49-F238E27FC236}">
                <a16:creationId xmlns:a16="http://schemas.microsoft.com/office/drawing/2014/main" id="{204AB049-E42E-494B-B5E8-BC09D5598C87}"/>
              </a:ext>
            </a:extLst>
          </p:cNvPr>
          <p:cNvSpPr>
            <a:spLocks noGrp="1"/>
          </p:cNvSpPr>
          <p:nvPr>
            <p:ph type="title"/>
          </p:nvPr>
        </p:nvSpPr>
        <p:spPr/>
        <p:txBody>
          <a:bodyPr/>
          <a:lstStyle/>
          <a:p>
            <a:r>
              <a:rPr lang="en-SG" dirty="0"/>
              <a:t>Unsupervised Models</a:t>
            </a:r>
          </a:p>
        </p:txBody>
      </p:sp>
      <p:sp>
        <p:nvSpPr>
          <p:cNvPr id="19" name="Slide Number Placeholder 18">
            <a:extLst>
              <a:ext uri="{FF2B5EF4-FFF2-40B4-BE49-F238E27FC236}">
                <a16:creationId xmlns:a16="http://schemas.microsoft.com/office/drawing/2014/main" id="{7FD8A77D-D8A4-45A3-8413-E3A7DDE6505E}"/>
              </a:ext>
            </a:extLst>
          </p:cNvPr>
          <p:cNvSpPr>
            <a:spLocks noGrp="1"/>
          </p:cNvSpPr>
          <p:nvPr>
            <p:ph type="sldNum" sz="quarter" idx="16"/>
          </p:nvPr>
        </p:nvSpPr>
        <p:spPr/>
        <p:txBody>
          <a:bodyPr/>
          <a:lstStyle/>
          <a:p>
            <a:r>
              <a:rPr lang="en-US" dirty="0"/>
              <a:t> </a:t>
            </a:r>
          </a:p>
        </p:txBody>
      </p:sp>
    </p:spTree>
    <p:extLst>
      <p:ext uri="{BB962C8B-B14F-4D97-AF65-F5344CB8AC3E}">
        <p14:creationId xmlns:p14="http://schemas.microsoft.com/office/powerpoint/2010/main" val="9207803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2CEAD60-72B7-49F6-9D08-2051B951F615}"/>
              </a:ext>
            </a:extLst>
          </p:cNvPr>
          <p:cNvPicPr>
            <a:picLocks noChangeAspect="1"/>
          </p:cNvPicPr>
          <p:nvPr/>
        </p:nvPicPr>
        <p:blipFill>
          <a:blip r:embed="rId3"/>
          <a:stretch>
            <a:fillRect/>
          </a:stretch>
        </p:blipFill>
        <p:spPr>
          <a:xfrm>
            <a:off x="480456" y="976065"/>
            <a:ext cx="4505301" cy="1971822"/>
          </a:xfrm>
          <a:prstGeom prst="rect">
            <a:avLst/>
          </a:prstGeom>
        </p:spPr>
      </p:pic>
      <p:pic>
        <p:nvPicPr>
          <p:cNvPr id="8" name="Picture 7">
            <a:extLst>
              <a:ext uri="{FF2B5EF4-FFF2-40B4-BE49-F238E27FC236}">
                <a16:creationId xmlns:a16="http://schemas.microsoft.com/office/drawing/2014/main" id="{89BCDCFB-2B47-4082-A42E-CE43B7709C21}"/>
              </a:ext>
            </a:extLst>
          </p:cNvPr>
          <p:cNvPicPr>
            <a:picLocks noChangeAspect="1"/>
          </p:cNvPicPr>
          <p:nvPr/>
        </p:nvPicPr>
        <p:blipFill>
          <a:blip r:embed="rId4"/>
          <a:stretch>
            <a:fillRect/>
          </a:stretch>
        </p:blipFill>
        <p:spPr>
          <a:xfrm>
            <a:off x="250826" y="2789738"/>
            <a:ext cx="4927672" cy="1971823"/>
          </a:xfrm>
          <a:prstGeom prst="rect">
            <a:avLst/>
          </a:prstGeom>
        </p:spPr>
      </p:pic>
      <p:sp>
        <p:nvSpPr>
          <p:cNvPr id="9" name="TextBox 8">
            <a:extLst>
              <a:ext uri="{FF2B5EF4-FFF2-40B4-BE49-F238E27FC236}">
                <a16:creationId xmlns:a16="http://schemas.microsoft.com/office/drawing/2014/main" id="{79B0C4BD-3947-41CE-9BD7-DA1F277E2AA6}"/>
              </a:ext>
            </a:extLst>
          </p:cNvPr>
          <p:cNvSpPr txBox="1"/>
          <p:nvPr/>
        </p:nvSpPr>
        <p:spPr bwMode="auto">
          <a:xfrm>
            <a:off x="3696012" y="1703930"/>
            <a:ext cx="627927" cy="154219"/>
          </a:xfrm>
          <a:prstGeom prst="rect">
            <a:avLst/>
          </a:prstGeom>
          <a:noFill/>
          <a:ln w="9525">
            <a:noFill/>
            <a:miter lim="800000"/>
            <a:headEnd/>
            <a:tailEnd/>
          </a:ln>
          <a:effectLst/>
        </p:spPr>
        <p:txBody>
          <a:bodyPr wrap="square" lIns="0" tIns="0" rIns="0" bIns="0" rtlCol="0" anchor="ctr" anchorCtr="0">
            <a:spAutoFit/>
          </a:bodyPr>
          <a:lstStyle/>
          <a:p>
            <a:pPr marL="0" marR="0" lvl="0" indent="0" algn="l" defTabSz="914400" rtl="0" eaLnBrk="0" fontAlgn="auto" latinLnBrk="0" hangingPunct="0">
              <a:lnSpc>
                <a:spcPct val="100000"/>
              </a:lnSpc>
              <a:spcBef>
                <a:spcPts val="0"/>
              </a:spcBef>
              <a:spcAft>
                <a:spcPts val="300"/>
              </a:spcAft>
              <a:buClr>
                <a:srgbClr val="E30034"/>
              </a:buClr>
              <a:buSzTx/>
              <a:buFontTx/>
              <a:buNone/>
              <a:tabLst/>
              <a:defRPr/>
            </a:pPr>
            <a:r>
              <a:rPr kumimoji="0" lang="en-SG" sz="1000" b="0" i="0" u="none" strike="noStrike" kern="0" cap="none" spc="0" normalizeH="0" baseline="0" noProof="0" dirty="0">
                <a:ln>
                  <a:noFill/>
                </a:ln>
                <a:solidFill>
                  <a:schemeClr val="dk1"/>
                </a:solidFill>
                <a:effectLst/>
                <a:uLnTx/>
                <a:uFillTx/>
                <a:latin typeface="Arial" panose="020B0604020202020204" pitchFamily="34" charset="0"/>
                <a:ea typeface="Verdana" pitchFamily="34" charset="0"/>
                <a:cs typeface="Arial" panose="020B0604020202020204" pitchFamily="34" charset="0"/>
              </a:rPr>
              <a:t>3 Topics</a:t>
            </a:r>
          </a:p>
        </p:txBody>
      </p:sp>
      <p:sp>
        <p:nvSpPr>
          <p:cNvPr id="10" name="TextBox 9">
            <a:extLst>
              <a:ext uri="{FF2B5EF4-FFF2-40B4-BE49-F238E27FC236}">
                <a16:creationId xmlns:a16="http://schemas.microsoft.com/office/drawing/2014/main" id="{2DA46CFE-BD19-4679-B278-BE0311B48D17}"/>
              </a:ext>
            </a:extLst>
          </p:cNvPr>
          <p:cNvSpPr txBox="1"/>
          <p:nvPr/>
        </p:nvSpPr>
        <p:spPr bwMode="auto">
          <a:xfrm>
            <a:off x="4361735" y="1774206"/>
            <a:ext cx="627927" cy="154219"/>
          </a:xfrm>
          <a:prstGeom prst="rect">
            <a:avLst/>
          </a:prstGeom>
          <a:noFill/>
          <a:ln w="9525">
            <a:noFill/>
            <a:miter lim="800000"/>
            <a:headEnd/>
            <a:tailEnd/>
          </a:ln>
          <a:effectLst/>
        </p:spPr>
        <p:txBody>
          <a:bodyPr wrap="square" lIns="0" tIns="0" rIns="0" bIns="0" rtlCol="0" anchor="ctr" anchorCtr="0">
            <a:spAutoFit/>
          </a:bodyPr>
          <a:lstStyle/>
          <a:p>
            <a:pPr marL="0" marR="0" lvl="0" indent="0" algn="l" defTabSz="914400" rtl="0" eaLnBrk="0" fontAlgn="auto" latinLnBrk="0" hangingPunct="0">
              <a:lnSpc>
                <a:spcPct val="100000"/>
              </a:lnSpc>
              <a:spcBef>
                <a:spcPts val="0"/>
              </a:spcBef>
              <a:spcAft>
                <a:spcPts val="300"/>
              </a:spcAft>
              <a:buClr>
                <a:srgbClr val="E30034"/>
              </a:buClr>
              <a:buSzTx/>
              <a:buFontTx/>
              <a:buNone/>
              <a:tabLst/>
              <a:defRPr/>
            </a:pPr>
            <a:r>
              <a:rPr kumimoji="0" lang="en-SG" sz="1000" b="0" i="0" u="none" strike="noStrike" kern="0" cap="none" spc="0" normalizeH="0" baseline="0" noProof="0" dirty="0">
                <a:ln>
                  <a:noFill/>
                </a:ln>
                <a:solidFill>
                  <a:schemeClr val="dk1"/>
                </a:solidFill>
                <a:effectLst/>
                <a:uLnTx/>
                <a:uFillTx/>
                <a:latin typeface="Arial" panose="020B0604020202020204" pitchFamily="34" charset="0"/>
                <a:ea typeface="Verdana" pitchFamily="34" charset="0"/>
                <a:cs typeface="Arial" panose="020B0604020202020204" pitchFamily="34" charset="0"/>
              </a:rPr>
              <a:t>4 Topics</a:t>
            </a:r>
          </a:p>
        </p:txBody>
      </p:sp>
      <p:pic>
        <p:nvPicPr>
          <p:cNvPr id="11" name="Picture 10">
            <a:extLst>
              <a:ext uri="{FF2B5EF4-FFF2-40B4-BE49-F238E27FC236}">
                <a16:creationId xmlns:a16="http://schemas.microsoft.com/office/drawing/2014/main" id="{25799D29-FA8E-421C-8521-FDE3D14C7E7C}"/>
              </a:ext>
            </a:extLst>
          </p:cNvPr>
          <p:cNvPicPr>
            <a:picLocks noChangeAspect="1"/>
          </p:cNvPicPr>
          <p:nvPr/>
        </p:nvPicPr>
        <p:blipFill>
          <a:blip r:embed="rId5"/>
          <a:stretch>
            <a:fillRect/>
          </a:stretch>
        </p:blipFill>
        <p:spPr>
          <a:xfrm>
            <a:off x="5215385" y="993858"/>
            <a:ext cx="3676207" cy="3389098"/>
          </a:xfrm>
          <a:prstGeom prst="rect">
            <a:avLst/>
          </a:prstGeom>
        </p:spPr>
      </p:pic>
      <p:sp>
        <p:nvSpPr>
          <p:cNvPr id="12" name="Title 11">
            <a:extLst>
              <a:ext uri="{FF2B5EF4-FFF2-40B4-BE49-F238E27FC236}">
                <a16:creationId xmlns:a16="http://schemas.microsoft.com/office/drawing/2014/main" id="{4737EBFF-451E-442A-B245-11B029460BE7}"/>
              </a:ext>
            </a:extLst>
          </p:cNvPr>
          <p:cNvSpPr>
            <a:spLocks noGrp="1"/>
          </p:cNvSpPr>
          <p:nvPr>
            <p:ph type="title"/>
          </p:nvPr>
        </p:nvSpPr>
        <p:spPr/>
        <p:txBody>
          <a:bodyPr/>
          <a:lstStyle/>
          <a:p>
            <a:r>
              <a:rPr lang="en-SG" dirty="0"/>
              <a:t>Latent Dirichlet Allocation(LDA) For Topic Modelling</a:t>
            </a:r>
          </a:p>
        </p:txBody>
      </p:sp>
      <p:sp>
        <p:nvSpPr>
          <p:cNvPr id="16" name="Slide Number Placeholder 15">
            <a:extLst>
              <a:ext uri="{FF2B5EF4-FFF2-40B4-BE49-F238E27FC236}">
                <a16:creationId xmlns:a16="http://schemas.microsoft.com/office/drawing/2014/main" id="{F7300936-7112-47E8-8291-3206D7D837E0}"/>
              </a:ext>
            </a:extLst>
          </p:cNvPr>
          <p:cNvSpPr>
            <a:spLocks noGrp="1"/>
          </p:cNvSpPr>
          <p:nvPr>
            <p:ph type="sldNum" sz="quarter" idx="16"/>
          </p:nvPr>
        </p:nvSpPr>
        <p:spPr/>
        <p:txBody>
          <a:bodyPr/>
          <a:lstStyle/>
          <a:p>
            <a:r>
              <a:rPr lang="en-US" dirty="0"/>
              <a:t> </a:t>
            </a:r>
          </a:p>
        </p:txBody>
      </p:sp>
    </p:spTree>
    <p:extLst>
      <p:ext uri="{BB962C8B-B14F-4D97-AF65-F5344CB8AC3E}">
        <p14:creationId xmlns:p14="http://schemas.microsoft.com/office/powerpoint/2010/main" val="12068987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NCLMASTER" val="0"/>
  <p:tag name="SLIDESPERROW" val="4"/>
  <p:tag name="THUMBWIDTH" val="220"/>
  <p:tag name="INFINEON_CATEGORY" val="{&quot;CategoryList&quot;:[],&quot;CategoryDictionary&quot;:{}}"/>
  <p:tag name="AGENDAID" val="d68dedf0-f20b-42f4-8f33-60dfe9c9b330"/>
</p:tagLst>
</file>

<file path=ppt/tags/tag1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0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0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9.xml><?xml version="1.0" encoding="utf-8"?>
<p:tagLst xmlns:a="http://schemas.openxmlformats.org/drawingml/2006/main" xmlns:r="http://schemas.openxmlformats.org/officeDocument/2006/relationships" xmlns:p="http://schemas.openxmlformats.org/presentationml/2006/main">
  <p:tag name="AGENDAID" val="d68dedf0-f20b-42f4-8f33-60dfe9c9b330"/>
  <p:tag name="AGENDAMAINSLIDE" val="True"/>
</p:tagLst>
</file>

<file path=ppt/tags/tag1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xml><?xml version="1.0" encoding="utf-8"?>
<p:tagLst xmlns:a="http://schemas.openxmlformats.org/drawingml/2006/main" xmlns:r="http://schemas.openxmlformats.org/officeDocument/2006/relationships" xmlns:p="http://schemas.openxmlformats.org/presentationml/2006/main">
  <p:tag name="MIO_FALLBACK_LAYOUT" val="5"/>
  <p:tag name="MIO_SHOW_DATE" val="False"/>
  <p:tag name="MIO_SHOW_FOOTER" val="False"/>
  <p:tag name="MIO_SHOW_PAGENUMBER" val="False"/>
  <p:tag name="MIO_AVOID_BLANK_LAYOUT" val="False"/>
  <p:tag name="MIO_CD_LAYOUT_VALID_AREA" val="False"/>
  <p:tag name="MIO_NUMBER_OF_VALID_LAYOUTS" val="19"/>
  <p:tag name="MIO_MATCH_COLOR_SCHEME" val="True"/>
  <p:tag name="MIO_EMBED_FONT" val="False"/>
  <p:tag name="MIO_HDS" val="True"/>
  <p:tag name="MIO_SKIPVERSION" val="01.01.0001 00:00:00"/>
  <p:tag name="MIO_EKGUID" val="8065601e-5703-48da-bebd-d15d5a0b2647"/>
  <p:tag name="MIO_UPDATE" val="True"/>
  <p:tag name="MIO_VERSION" val="16.07.2022 06:32:14"/>
  <p:tag name="MIO_DBID" val="FDE84254-54DB-49E3-9A0E-CDE72035D530"/>
  <p:tag name="MIO_LASTDOWNLOADED" val="28.07.2022 09:27:57.785"/>
  <p:tag name="MIO_OBJECTNAME" val="Infineon LCD 16:9"/>
  <p:tag name="MIO_CDID" val="906d5752-464b-466e-b4dc-f788d8f80480"/>
</p:tagLst>
</file>

<file path=ppt/tags/tag9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9.xml><?xml version="1.0" encoding="utf-8"?>
<p:tagLst xmlns:a="http://schemas.openxmlformats.org/drawingml/2006/main" xmlns:r="http://schemas.openxmlformats.org/officeDocument/2006/relationships" xmlns:p="http://schemas.openxmlformats.org/presentationml/2006/main">
  <p:tag name="MIO_SKIP_CDCHECK" val="True"/>
</p:tagLst>
</file>

<file path=ppt/theme/theme1.xml><?xml version="1.0" encoding="utf-8"?>
<a:theme xmlns:a="http://schemas.openxmlformats.org/drawingml/2006/main" name="Infineon 16:9">
  <a:themeElements>
    <a:clrScheme name="Infineon - new SUN">
      <a:dk1>
        <a:srgbClr val="000000"/>
      </a:dk1>
      <a:lt1>
        <a:srgbClr val="FFFFFF"/>
      </a:lt1>
      <a:dk2>
        <a:srgbClr val="FFE054"/>
      </a:dk2>
      <a:lt2>
        <a:srgbClr val="E9E6E6"/>
      </a:lt2>
      <a:accent1>
        <a:srgbClr val="E30034"/>
      </a:accent1>
      <a:accent2>
        <a:srgbClr val="928285"/>
      </a:accent2>
      <a:accent3>
        <a:srgbClr val="84B6A7"/>
      </a:accent3>
      <a:accent4>
        <a:srgbClr val="AEC067"/>
      </a:accent4>
      <a:accent5>
        <a:srgbClr val="F07F3C"/>
      </a:accent5>
      <a:accent6>
        <a:srgbClr val="AB377A"/>
      </a:accent6>
      <a:hlink>
        <a:srgbClr val="1122CC"/>
      </a:hlink>
      <a:folHlink>
        <a:srgbClr val="1122CC"/>
      </a:folHlink>
    </a:clrScheme>
    <a:fontScheme name="Infineon">
      <a:majorFont>
        <a:latin typeface="Arial"/>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w="9525">
          <a:noFill/>
          <a:miter lim="800000"/>
          <a:headEnd/>
          <a:tailEnd/>
        </a:ln>
      </a:spPr>
      <a:bodyPr wrap="square" lIns="72000" tIns="72000" rIns="72000" bIns="72000" rtlCol="0" anchor="ctr"/>
      <a:lstStyle>
        <a:defPPr algn="ctr" eaLnBrk="0" hangingPunct="0">
          <a:defRPr sz="1600" baseline="0" dirty="0">
            <a:latin typeface="+mn-lt"/>
            <a:ea typeface="+mn-ea"/>
            <a:cs typeface="+mn-cs"/>
          </a:defRPr>
        </a:defPPr>
      </a:lstStyle>
    </a:spDef>
    <a:lnDef>
      <a:spPr>
        <a:ln w="19050">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bwMode="auto">
        <a:noFill/>
        <a:ln w="9525">
          <a:noFill/>
          <a:miter lim="800000"/>
          <a:headEnd/>
          <a:tailEnd/>
        </a:ln>
        <a:effectLst/>
      </a:spPr>
      <a:bodyPr wrap="square" lIns="0" tIns="0" rIns="0" bIns="0" rtlCol="0" anchor="ctr" anchorCtr="0">
        <a:noAutofit/>
      </a:bodyPr>
      <a:lstStyle>
        <a:defPPr marL="180000" marR="0" indent="-180000" algn="l" defTabSz="576000" eaLnBrk="0" fontAlgn="auto" latinLnBrk="0" hangingPunct="0">
          <a:spcBef>
            <a:spcPts val="0"/>
          </a:spcBef>
          <a:spcAft>
            <a:spcPts val="0"/>
          </a:spcAft>
          <a:buClr>
            <a:schemeClr val="accent1"/>
          </a:buClr>
          <a:buSzTx/>
          <a:buFont typeface="Arial" panose="020B0604020202020204" pitchFamily="34" charset="0"/>
          <a:buChar char="›"/>
          <a:tabLst/>
          <a:defRPr sz="1400" kern="0" baseline="0" dirty="0">
            <a:latin typeface="+mn-lt"/>
            <a:ea typeface="+mn-ea"/>
            <a:cs typeface="+mn-cs"/>
          </a:defRPr>
        </a:defPPr>
      </a:lstStyle>
    </a:txDef>
  </a:objectDefaults>
  <a:extraClrSchemeLst/>
  <a:extLst>
    <a:ext uri="{05A4C25C-085E-4340-85A3-A5531E510DB2}">
      <thm15:themeFamily xmlns:thm15="http://schemas.microsoft.com/office/thememl/2012/main" name="Default Theme.pptx" id="{6FC582BC-A12E-4DFC-AFD8-F9F0B0482295}" vid="{F6E46355-B855-4EB5-9768-9ECF6891F04F}"/>
    </a:ext>
  </a:extLst>
</a:theme>
</file>

<file path=ppt/theme/theme2.xml><?xml version="1.0" encoding="utf-8"?>
<a:theme xmlns:a="http://schemas.openxmlformats.org/drawingml/2006/main" name="Larissa-Design">
  <a:themeElements>
    <a:clrScheme name="Infineon">
      <a:dk1>
        <a:srgbClr val="000000"/>
      </a:dk1>
      <a:lt1>
        <a:srgbClr val="FFFFFF"/>
      </a:lt1>
      <a:dk2>
        <a:srgbClr val="FFE054"/>
      </a:dk2>
      <a:lt2>
        <a:srgbClr val="E9E6E6"/>
      </a:lt2>
      <a:accent1>
        <a:srgbClr val="E30034"/>
      </a:accent1>
      <a:accent2>
        <a:srgbClr val="928285"/>
      </a:accent2>
      <a:accent3>
        <a:srgbClr val="84B6A7"/>
      </a:accent3>
      <a:accent4>
        <a:srgbClr val="AEC067"/>
      </a:accent4>
      <a:accent5>
        <a:srgbClr val="EE813C"/>
      </a:accent5>
      <a:accent6>
        <a:srgbClr val="AB377A"/>
      </a:accent6>
      <a:hlink>
        <a:srgbClr val="1122CC"/>
      </a:hlink>
      <a:folHlink>
        <a:srgbClr val="1122CC"/>
      </a:folHlink>
    </a:clrScheme>
    <a:fontScheme name="Infineon Fonts">
      <a:majorFont>
        <a:latin typeface="Verdana"/>
        <a:ea typeface=""/>
        <a:cs typeface="Verdana"/>
      </a:majorFont>
      <a:minorFont>
        <a:latin typeface="Verdana"/>
        <a:ea typeface=""/>
        <a:cs typeface="Verdana"/>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Infineon_ColorTheme_2012">
      <a:dk1>
        <a:srgbClr val="00214A"/>
      </a:dk1>
      <a:lt1>
        <a:srgbClr val="FFFFFF"/>
      </a:lt1>
      <a:dk2>
        <a:srgbClr val="00214A"/>
      </a:dk2>
      <a:lt2>
        <a:srgbClr val="C8D8E6"/>
      </a:lt2>
      <a:accent1>
        <a:srgbClr val="B70D28"/>
      </a:accent1>
      <a:accent2>
        <a:srgbClr val="E3EBF2"/>
      </a:accent2>
      <a:accent3>
        <a:srgbClr val="005DA9"/>
      </a:accent3>
      <a:accent4>
        <a:srgbClr val="969696"/>
      </a:accent4>
      <a:accent5>
        <a:srgbClr val="FDC400"/>
      </a:accent5>
      <a:accent6>
        <a:srgbClr val="009651"/>
      </a:accent6>
      <a:hlink>
        <a:srgbClr val="1122CC"/>
      </a:hlink>
      <a:folHlink>
        <a:srgbClr val="1122CC"/>
      </a:folHlink>
    </a:clrScheme>
    <a:fontScheme name="Infineon Fonts">
      <a:majorFont>
        <a:latin typeface="Verdana"/>
        <a:ea typeface=""/>
        <a:cs typeface="Verdana"/>
      </a:majorFont>
      <a:minorFont>
        <a:latin typeface="Verdana"/>
        <a:ea typeface=""/>
        <a:cs typeface="Verdana"/>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agenda xmlns="http://schemas.microsoft.com/vsto">
  <data><![CDATA[[{"path":null,"Section":0,"AgendaGUID":null,"SlideGUID":"03ef78cb-835f-48d4-a35d-4f63b58f1140","ParentGUID":null,"SectionID":null,"hasData":false,"Position":1,"IndentLevel":1,"Title":"Topic 1","SectionIndex":0,"SlideIndex":0,"ChildAgenda":[],"contentSlides":[]},{"path":null,"Section":0,"AgendaGUID":null,"SlideGUID":"843d96b8-659a-430f-b077-ae9c8067d9f6","ParentGUID":null,"SectionID":null,"hasData":false,"Position":2,"IndentLevel":1,"Title":"Topic 2","SectionIndex":0,"SlideIndex":0,"ChildAgenda":[{"path":null,"Section":0,"AgendaGUID":null,"SlideGUID":"e5c5a1d1-46b8-4c8c-8473-5638ef7db685","ParentGUID":"843d96b8-659a-430f-b077-ae9c8067d9f6","SectionID":null,"hasData":false,"Position":1,"IndentLevel":2,"Title":"Topic 2.1","SectionIndex":0,"SlideIndex":0,"ChildAgenda":[],"contentSlides":[]},{"path":null,"Section":0,"AgendaGUID":null,"SlideGUID":"2c66211d-4f1e-4c72-b604-507ce3cbd0d3","ParentGUID":"843d96b8-659a-430f-b077-ae9c8067d9f6","SectionID":null,"hasData":false,"Position":2,"IndentLevel":2,"Title":"Topic 2.2","SectionIndex":0,"SlideIndex":0,"ChildAgenda":[],"contentSlides":[]}],"contentSlides":[]}]]]></data>
</agenda>
</file>

<file path=customXml/item2.xml><?xml version="1.0" encoding="utf-8"?>
<?mso-contentType ?>
<customXsn xmlns="http://schemas.microsoft.com/office/2006/metadata/customXsn">
  <xsnLocation/>
  <cached>True</cached>
  <openByDefault>False</openByDefault>
  <xsnScope/>
</customXsn>
</file>

<file path=customXml/item3.xml><?xml version="1.0" encoding="utf-8"?>
<ct:contentTypeSchema xmlns:ct="http://schemas.microsoft.com/office/2006/metadata/contentType" xmlns:ma="http://schemas.microsoft.com/office/2006/metadata/properties/metaAttributes" ct:_="" ma:_="" ma:contentTypeName="Document" ma:contentTypeID="0x010100A655AAE9148B404486CBFDD74AD2AA0B" ma:contentTypeVersion="2" ma:contentTypeDescription="Create a new document." ma:contentTypeScope="" ma:versionID="cd912bcf317c9bb3e6f9312136d1a517">
  <xsd:schema xmlns:xsd="http://www.w3.org/2001/XMLSchema" xmlns:xs="http://www.w3.org/2001/XMLSchema" xmlns:p="http://schemas.microsoft.com/office/2006/metadata/properties" xmlns:ns2="a709603d-609a-478b-a91d-3c5e984c0e79" xmlns:ns3="6ef45842-284e-44e4-b2db-1749e7948b44" targetNamespace="http://schemas.microsoft.com/office/2006/metadata/properties" ma:root="true" ma:fieldsID="802f8751eb1494900eff1d4deffe658e" ns2:_="" ns3:_="">
    <xsd:import namespace="a709603d-609a-478b-a91d-3c5e984c0e79"/>
    <xsd:import namespace="6ef45842-284e-44e4-b2db-1749e7948b44"/>
    <xsd:element name="properties">
      <xsd:complexType>
        <xsd:sequence>
          <xsd:element name="documentManagement">
            <xsd:complexType>
              <xsd:all>
                <xsd:element ref="ns2:Ver" minOccurs="0"/>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709603d-609a-478b-a91d-3c5e984c0e79" elementFormDefault="qualified">
    <xsd:import namespace="http://schemas.microsoft.com/office/2006/documentManagement/types"/>
    <xsd:import namespace="http://schemas.microsoft.com/office/infopath/2007/PartnerControls"/>
    <xsd:element name="Ver" ma:index="8" nillable="true" ma:displayName="Ver" ma:default="0" ma:internalName="Ver" ma:percentage="FALSE">
      <xsd:simpleType>
        <xsd:restriction base="dms:Number"/>
      </xsd:simpleType>
    </xsd:element>
  </xsd:schema>
  <xsd:schema xmlns:xsd="http://www.w3.org/2001/XMLSchema" xmlns:xs="http://www.w3.org/2001/XMLSchema" xmlns:dms="http://schemas.microsoft.com/office/2006/documentManagement/types" xmlns:pc="http://schemas.microsoft.com/office/infopath/2007/PartnerControls" targetNamespace="6ef45842-284e-44e4-b2db-1749e7948b44" elementFormDefault="qualified">
    <xsd:import namespace="http://schemas.microsoft.com/office/2006/documentManagement/types"/>
    <xsd:import namespace="http://schemas.microsoft.com/office/infopath/2007/PartnerControls"/>
    <xsd:element name="SharedWithUsers" ma:index="9"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properties xmlns:p="http://schemas.microsoft.com/office/2006/metadata/properties" xmlns:xsi="http://www.w3.org/2001/XMLSchema-instance" xmlns:pc="http://schemas.microsoft.com/office/infopath/2007/PartnerControls">
  <documentManagement>
    <Ver xmlns="a709603d-609a-478b-a91d-3c5e984c0e79">0</Ver>
  </documentManagement>
</p:properties>
</file>

<file path=customXml/item5.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D90442C-6655-4E43-B642-D8CB77813EFF}">
  <ds:schemaRefs>
    <ds:schemaRef ds:uri="http://schemas.microsoft.com/vsto"/>
  </ds:schemaRefs>
</ds:datastoreItem>
</file>

<file path=customXml/itemProps2.xml><?xml version="1.0" encoding="utf-8"?>
<ds:datastoreItem xmlns:ds="http://schemas.openxmlformats.org/officeDocument/2006/customXml" ds:itemID="{EC144A13-A380-40B3-9980-61BD11F58D02}">
  <ds:schemaRefs>
    <ds:schemaRef ds:uri="http://schemas.microsoft.com/office/2006/metadata/customXsn"/>
  </ds:schemaRefs>
</ds:datastoreItem>
</file>

<file path=customXml/itemProps3.xml><?xml version="1.0" encoding="utf-8"?>
<ds:datastoreItem xmlns:ds="http://schemas.openxmlformats.org/officeDocument/2006/customXml" ds:itemID="{0EB45520-3D26-4593-A0CE-5E994A8A3B8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709603d-609a-478b-a91d-3c5e984c0e79"/>
    <ds:schemaRef ds:uri="6ef45842-284e-44e4-b2db-1749e7948b4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D299A1D5-F553-4264-9022-E0136C61CE27}">
  <ds:schemaRefs>
    <ds:schemaRef ds:uri="http://schemas.microsoft.com/office/infopath/2007/PartnerControls"/>
    <ds:schemaRef ds:uri="http://www.w3.org/XML/1998/namespace"/>
    <ds:schemaRef ds:uri="http://purl.org/dc/dcmitype/"/>
    <ds:schemaRef ds:uri="http://schemas.openxmlformats.org/package/2006/metadata/core-properties"/>
    <ds:schemaRef ds:uri="http://schemas.microsoft.com/office/2006/documentManagement/types"/>
    <ds:schemaRef ds:uri="http://purl.org/dc/elements/1.1/"/>
    <ds:schemaRef ds:uri="http://purl.org/dc/terms/"/>
    <ds:schemaRef ds:uri="6ef45842-284e-44e4-b2db-1749e7948b44"/>
    <ds:schemaRef ds:uri="a709603d-609a-478b-a91d-3c5e984c0e79"/>
    <ds:schemaRef ds:uri="http://schemas.microsoft.com/office/2006/metadata/properties"/>
  </ds:schemaRefs>
</ds:datastoreItem>
</file>

<file path=customXml/itemProps5.xml><?xml version="1.0" encoding="utf-8"?>
<ds:datastoreItem xmlns:ds="http://schemas.openxmlformats.org/officeDocument/2006/customXml" ds:itemID="{63C6748B-B74E-4BE1-834C-AEBB9BCA18F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1675</Words>
  <Application>Microsoft Office PowerPoint</Application>
  <PresentationFormat>On-screen Show (16:9)</PresentationFormat>
  <Paragraphs>339</Paragraphs>
  <Slides>19</Slides>
  <Notes>19</Notes>
  <HiddenSlides>0</HiddenSlides>
  <MMClips>1</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19</vt:i4>
      </vt:variant>
    </vt:vector>
  </HeadingPairs>
  <TitlesOfParts>
    <vt:vector size="24" baseType="lpstr">
      <vt:lpstr>Arial</vt:lpstr>
      <vt:lpstr>Arial Unicode MS</vt:lpstr>
      <vt:lpstr>Cambria Math</vt:lpstr>
      <vt:lpstr>Verdana</vt:lpstr>
      <vt:lpstr>Infineon 16:9</vt:lpstr>
      <vt:lpstr>Azure Bot and Root Cause Analysis using unsupervised model</vt:lpstr>
      <vt:lpstr>Agenda</vt:lpstr>
      <vt:lpstr>My Introduction</vt:lpstr>
      <vt:lpstr>Background of the Problem(Proactive)</vt:lpstr>
      <vt:lpstr>Data Processing Steps</vt:lpstr>
      <vt:lpstr>Machine Learning Model Familiarity </vt:lpstr>
      <vt:lpstr>Model exploration in regard to the Remedy Incident Ticket</vt:lpstr>
      <vt:lpstr>Unsupervised Models</vt:lpstr>
      <vt:lpstr>Latent Dirichlet Allocation(LDA) For Topic Modelling</vt:lpstr>
      <vt:lpstr>Term Frequency – Inverse Document Frequency(TF-IDF) </vt:lpstr>
      <vt:lpstr>Model Pipeline</vt:lpstr>
      <vt:lpstr>SklearnLDA output</vt:lpstr>
      <vt:lpstr>BOC Chatbot for Incident Ticket using unsupervised NLP model</vt:lpstr>
      <vt:lpstr>Chatbot Dialog Flow concept for the printing issue</vt:lpstr>
      <vt:lpstr>Chatbot Sample</vt:lpstr>
      <vt:lpstr>Challenges</vt:lpstr>
      <vt:lpstr>Takeaway</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2-07-19T06:55:10Z</dcterms:created>
  <dcterms:modified xsi:type="dcterms:W3CDTF">2022-07-28T05:33: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ID">
    <vt:lpwstr/>
  </property>
  <property fmtid="{D5CDD505-2E9C-101B-9397-08002B2CF9AE}" pid="3" name="DocumentVersion">
    <vt:lpwstr/>
  </property>
  <property fmtid="{D5CDD505-2E9C-101B-9397-08002B2CF9AE}" pid="4" name="Proprietary">
    <vt:lpwstr/>
  </property>
  <property fmtid="{D5CDD505-2E9C-101B-9397-08002B2CF9AE}" pid="5" name="ConfidentialityMarking">
    <vt:lpwstr>restricted</vt:lpwstr>
  </property>
  <property fmtid="{D5CDD505-2E9C-101B-9397-08002B2CF9AE}" pid="6" name="AdditionalMarking">
    <vt:lpwstr/>
  </property>
  <property fmtid="{D5CDD505-2E9C-101B-9397-08002B2CF9AE}" pid="7" name="TemplateCompany">
    <vt:lpwstr>IFX</vt:lpwstr>
  </property>
  <property fmtid="{D5CDD505-2E9C-101B-9397-08002B2CF9AE}" pid="8" name="ContentTypeId">
    <vt:lpwstr>0x010100A655AAE9148B404486CBFDD74AD2AA0B</vt:lpwstr>
  </property>
  <property fmtid="{D5CDD505-2E9C-101B-9397-08002B2CF9AE}" pid="9" name="AgendaXMLId">
    <vt:lpwstr>{6D90442C-6655-4E43-B642-D8CB77813EFF}</vt:lpwstr>
  </property>
</Properties>
</file>